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3.xml" ContentType="application/vnd.openxmlformats-officedocument.them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slideLayouts/slideLayout50.xml" ContentType="application/vnd.openxmlformats-officedocument.presentationml.slideLayout+xml"/>
  <Override PartName="/ppt/theme/theme4.xml" ContentType="application/vnd.openxmlformats-officedocument.them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827" r:id="rId4"/>
    <p:sldMasterId id="2147483767" r:id="rId5"/>
    <p:sldMasterId id="2147483830" r:id="rId6"/>
    <p:sldMasterId id="2147483915" r:id="rId7"/>
  </p:sldMasterIdLst>
  <p:notesMasterIdLst>
    <p:notesMasterId r:id="rId15"/>
  </p:notesMasterIdLst>
  <p:handoutMasterIdLst>
    <p:handoutMasterId r:id="rId16"/>
  </p:handoutMasterIdLst>
  <p:sldIdLst>
    <p:sldId id="404" r:id="rId8"/>
    <p:sldId id="458" r:id="rId9"/>
    <p:sldId id="456" r:id="rId10"/>
    <p:sldId id="819" r:id="rId11"/>
    <p:sldId id="820" r:id="rId12"/>
    <p:sldId id="821" r:id="rId13"/>
    <p:sldId id="444" r:id="rId14"/>
  </p:sldIdLst>
  <p:sldSz cx="12193588" cy="6858000"/>
  <p:notesSz cx="6797675" cy="9926638"/>
  <p:custDataLst>
    <p:tags r:id="rId1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54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niel Banken" initials="DB" lastIdx="19" clrIdx="0">
    <p:extLst>
      <p:ext uri="{19B8F6BF-5375-455C-9EA6-DF929625EA0E}">
        <p15:presenceInfo xmlns:p15="http://schemas.microsoft.com/office/powerpoint/2012/main" userId="74089230-128f-4ed2-b498-f9cae172ea27" providerId="Windows Live"/>
      </p:ext>
    </p:extLst>
  </p:cmAuthor>
  <p:cmAuthor id="2" name="Daniel Banken" initials="DB [2]" lastIdx="1" clrIdx="1">
    <p:extLst>
      <p:ext uri="{19B8F6BF-5375-455C-9EA6-DF929625EA0E}">
        <p15:presenceInfo xmlns:p15="http://schemas.microsoft.com/office/powerpoint/2012/main" userId="f7e4c148a9569cd8" providerId="Windows Live"/>
      </p:ext>
    </p:extLst>
  </p:cmAuthor>
  <p:cmAuthor id="3" name="Dumont, Fleur" initials="DF" lastIdx="1" clrIdx="2">
    <p:extLst>
      <p:ext uri="{19B8F6BF-5375-455C-9EA6-DF929625EA0E}">
        <p15:presenceInfo xmlns:p15="http://schemas.microsoft.com/office/powerpoint/2012/main" userId="S::Fleur.Dumon@tecalliance.net::2d372a72-5df7-4c51-aa6c-3b8bd46cd20a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C1E65"/>
    <a:srgbClr val="F9B000"/>
    <a:srgbClr val="8F1660"/>
    <a:srgbClr val="C61932"/>
    <a:srgbClr val="6E1868"/>
    <a:srgbClr val="C2D0D8"/>
    <a:srgbClr val="000000"/>
    <a:srgbClr val="003366"/>
    <a:srgbClr val="87C8AD"/>
    <a:srgbClr val="789DC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3605" autoAdjust="0"/>
  </p:normalViewPr>
  <p:slideViewPr>
    <p:cSldViewPr showGuides="1">
      <p:cViewPr varScale="1">
        <p:scale>
          <a:sx n="114" d="100"/>
          <a:sy n="114" d="100"/>
        </p:scale>
        <p:origin x="414" y="108"/>
      </p:cViewPr>
      <p:guideLst>
        <p:guide pos="3840"/>
        <p:guide orient="horz" pos="2546"/>
      </p:guideLst>
    </p:cSldViewPr>
  </p:slideViewPr>
  <p:outlineViewPr>
    <p:cViewPr>
      <p:scale>
        <a:sx n="33" d="100"/>
        <a:sy n="33" d="100"/>
      </p:scale>
      <p:origin x="0" y="-1068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-816"/>
    </p:cViewPr>
  </p:sorterViewPr>
  <p:notesViewPr>
    <p:cSldViewPr showGuides="1">
      <p:cViewPr>
        <p:scale>
          <a:sx n="75" d="100"/>
          <a:sy n="75" d="100"/>
        </p:scale>
        <p:origin x="4800" y="61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3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46FF867-AE20-47E2-9575-96A05DAB8D0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72479" y="9487759"/>
            <a:ext cx="2712235" cy="156325"/>
          </a:xfrm>
          <a:prstGeom prst="rect">
            <a:avLst/>
          </a:prstGeom>
        </p:spPr>
        <p:txBody>
          <a:bodyPr vert="horz" lIns="0" tIns="0" rIns="0" bIns="0" rtlCol="0"/>
          <a:lstStyle>
            <a:lvl1pPr algn="r">
              <a:defRPr sz="1200"/>
            </a:lvl1pPr>
          </a:lstStyle>
          <a:p>
            <a:pPr algn="l"/>
            <a:fld id="{5302F13D-DBE3-4F19-999B-133BA36F46B2}" type="datetimeFigureOut">
              <a:rPr lang="de-DE" sz="900" smtClean="0">
                <a:solidFill>
                  <a:schemeClr val="tx2"/>
                </a:solidFill>
              </a:rPr>
              <a:pPr algn="l"/>
              <a:t>05.08.2020</a:t>
            </a:fld>
            <a:endParaRPr lang="de-DE" sz="900" dirty="0">
              <a:solidFill>
                <a:schemeClr val="tx2"/>
              </a:solidFill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93C0B05-8F7A-4B28-A1FF-13027FC41BC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472479" y="9262734"/>
            <a:ext cx="2712235" cy="1563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200"/>
            </a:lvl1pPr>
          </a:lstStyle>
          <a:p>
            <a:endParaRPr lang="de-DE" sz="900" dirty="0">
              <a:solidFill>
                <a:schemeClr val="tx2"/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9960F04-80AF-489E-BCBF-0B16523FDEF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256089" y="9262734"/>
            <a:ext cx="285498" cy="38134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1200"/>
            </a:lvl1pPr>
          </a:lstStyle>
          <a:p>
            <a:pPr algn="ctr"/>
            <a:fld id="{ADC9D5AA-7BF5-427A-B633-040ACB7DB43D}" type="slidenum">
              <a:rPr lang="de-DE" b="1" smtClean="0">
                <a:solidFill>
                  <a:schemeClr val="tx2"/>
                </a:solidFill>
              </a:rPr>
              <a:pPr algn="ctr"/>
              <a:t>‹#›</a:t>
            </a:fld>
            <a:endParaRPr lang="de-DE" b="1" dirty="0">
              <a:solidFill>
                <a:schemeClr val="tx2"/>
              </a:solidFill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AB35A548-4330-4CA9-AC9D-5330E02BE4F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820" t="21249" r="8053" b="21626"/>
          <a:stretch/>
        </p:blipFill>
        <p:spPr>
          <a:xfrm>
            <a:off x="4326707" y="9225708"/>
            <a:ext cx="1998489" cy="4955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93706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95263" y="508000"/>
            <a:ext cx="6407150" cy="3605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72479" y="4494292"/>
            <a:ext cx="5852717" cy="4191516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6</a:t>
            </a:r>
          </a:p>
          <a:p>
            <a:pPr lvl="6"/>
            <a:r>
              <a:rPr lang="de-DE" dirty="0"/>
              <a:t>7</a:t>
            </a:r>
          </a:p>
          <a:p>
            <a:pPr lvl="7"/>
            <a:r>
              <a:rPr lang="de-DE" dirty="0"/>
              <a:t>8</a:t>
            </a:r>
          </a:p>
          <a:p>
            <a:pPr lvl="8"/>
            <a:r>
              <a:rPr lang="de-DE" dirty="0"/>
              <a:t>9</a:t>
            </a:r>
          </a:p>
        </p:txBody>
      </p:sp>
      <p:sp>
        <p:nvSpPr>
          <p:cNvPr id="8" name="Datumsplatzhalter 2">
            <a:extLst>
              <a:ext uri="{FF2B5EF4-FFF2-40B4-BE49-F238E27FC236}">
                <a16:creationId xmlns:a16="http://schemas.microsoft.com/office/drawing/2014/main" id="{D50142CC-E073-4A6A-B7C4-97355AA34BE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72479" y="9487759"/>
            <a:ext cx="2712235" cy="156325"/>
          </a:xfrm>
          <a:prstGeom prst="rect">
            <a:avLst/>
          </a:prstGeom>
        </p:spPr>
        <p:txBody>
          <a:bodyPr vert="horz" lIns="0" tIns="0" rIns="0" bIns="0" rtlCol="0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pPr algn="l"/>
            <a:fld id="{5302F13D-DBE3-4F19-999B-133BA36F46B2}" type="datetimeFigureOut">
              <a:rPr lang="de-DE" sz="900" smtClean="0"/>
              <a:pPr algn="l"/>
              <a:t>05.08.2020</a:t>
            </a:fld>
            <a:endParaRPr lang="de-DE" sz="900" dirty="0"/>
          </a:p>
        </p:txBody>
      </p:sp>
      <p:sp>
        <p:nvSpPr>
          <p:cNvPr id="9" name="Fußzeilenplatzhalter 3">
            <a:extLst>
              <a:ext uri="{FF2B5EF4-FFF2-40B4-BE49-F238E27FC236}">
                <a16:creationId xmlns:a16="http://schemas.microsoft.com/office/drawing/2014/main" id="{FFDE933A-8E73-41A7-B690-BD2387164A69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472479" y="9262734"/>
            <a:ext cx="2712235" cy="1563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200">
                <a:solidFill>
                  <a:schemeClr val="tx2"/>
                </a:solidFill>
              </a:defRPr>
            </a:lvl1pPr>
          </a:lstStyle>
          <a:p>
            <a:endParaRPr lang="de-DE" sz="900" dirty="0"/>
          </a:p>
        </p:txBody>
      </p:sp>
      <p:sp>
        <p:nvSpPr>
          <p:cNvPr id="10" name="Foliennummernplatzhalter 4">
            <a:extLst>
              <a:ext uri="{FF2B5EF4-FFF2-40B4-BE49-F238E27FC236}">
                <a16:creationId xmlns:a16="http://schemas.microsoft.com/office/drawing/2014/main" id="{C8486478-9D5F-4501-8E63-2D1A11E61DD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256089" y="9262734"/>
            <a:ext cx="285498" cy="38134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pPr algn="ctr"/>
            <a:fld id="{ADC9D5AA-7BF5-427A-B633-040ACB7DB43D}" type="slidenum">
              <a:rPr lang="de-DE" b="1" smtClean="0"/>
              <a:pPr algn="ctr"/>
              <a:t>‹#›</a:t>
            </a:fld>
            <a:endParaRPr lang="de-DE" b="1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7A8CAE30-1D60-420D-BE81-6110B21E514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820" t="21249" r="8053" b="21626"/>
          <a:stretch/>
        </p:blipFill>
        <p:spPr>
          <a:xfrm>
            <a:off x="4326707" y="9225708"/>
            <a:ext cx="1998489" cy="4955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56440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defRPr sz="1200" kern="1200">
        <a:solidFill>
          <a:schemeClr val="accent1"/>
        </a:solidFill>
        <a:latin typeface="+mn-lt"/>
        <a:ea typeface="+mn-ea"/>
        <a:cs typeface="+mn-cs"/>
      </a:defRPr>
    </a:lvl1pPr>
    <a:lvl2pPr marL="180000" indent="-180000" algn="l" defTabSz="914400" rtl="0" eaLnBrk="1" latinLnBrk="0" hangingPunct="1">
      <a:spcAft>
        <a:spcPts val="400"/>
      </a:spcAft>
      <a:buFont typeface="Arial" panose="020B0604020202020204" pitchFamily="34" charset="0"/>
      <a:buChar char="•"/>
      <a:defRPr sz="1200" kern="1200">
        <a:solidFill>
          <a:schemeClr val="accent1"/>
        </a:solidFill>
        <a:latin typeface="+mn-lt"/>
        <a:ea typeface="+mn-ea"/>
        <a:cs typeface="+mn-cs"/>
      </a:defRPr>
    </a:lvl2pPr>
    <a:lvl3pPr marL="360000" indent="-180000" algn="l" defTabSz="914400" rtl="0" eaLnBrk="1" latinLnBrk="0" hangingPunct="1">
      <a:spcAft>
        <a:spcPts val="400"/>
      </a:spcAft>
      <a:buFont typeface="Arial" panose="020B0604020202020204" pitchFamily="34" charset="0"/>
      <a:buChar char="•"/>
      <a:defRPr sz="1200" kern="1200">
        <a:solidFill>
          <a:schemeClr val="accent1"/>
        </a:solidFill>
        <a:latin typeface="+mn-lt"/>
        <a:ea typeface="+mn-ea"/>
        <a:cs typeface="+mn-cs"/>
      </a:defRPr>
    </a:lvl3pPr>
    <a:lvl4pPr marL="540000" indent="-180000" algn="l" defTabSz="914400" rtl="0" eaLnBrk="1" latinLnBrk="0" hangingPunct="1">
      <a:spcAft>
        <a:spcPts val="400"/>
      </a:spcAft>
      <a:buFont typeface="Arial" panose="020B0604020202020204" pitchFamily="34" charset="0"/>
      <a:buChar char="•"/>
      <a:defRPr sz="1200" kern="1200">
        <a:solidFill>
          <a:schemeClr val="accent1"/>
        </a:solidFill>
        <a:latin typeface="+mn-lt"/>
        <a:ea typeface="+mn-ea"/>
        <a:cs typeface="+mn-cs"/>
      </a:defRPr>
    </a:lvl4pPr>
    <a:lvl5pPr marL="720000" indent="-180000" algn="l" defTabSz="914400" rtl="0" eaLnBrk="1" latinLnBrk="0" hangingPunct="1">
      <a:spcAft>
        <a:spcPts val="400"/>
      </a:spcAft>
      <a:buFont typeface="Arial" panose="020B0604020202020204" pitchFamily="34" charset="0"/>
      <a:buChar char="•"/>
      <a:defRPr sz="1200" kern="1200">
        <a:solidFill>
          <a:schemeClr val="accent1"/>
        </a:solidFill>
        <a:latin typeface="+mn-lt"/>
        <a:ea typeface="+mn-ea"/>
        <a:cs typeface="+mn-cs"/>
      </a:defRPr>
    </a:lvl5pPr>
    <a:lvl6pPr marL="900000" indent="-180000" algn="l" defTabSz="914400" rtl="0" eaLnBrk="1" latinLnBrk="0" hangingPunct="1">
      <a:spcAft>
        <a:spcPts val="400"/>
      </a:spcAft>
      <a:buFont typeface="Arial" panose="020B0604020202020204" pitchFamily="34" charset="0"/>
      <a:buChar char="•"/>
      <a:defRPr sz="1200" kern="1200">
        <a:solidFill>
          <a:schemeClr val="accent1"/>
        </a:solidFill>
        <a:latin typeface="+mn-lt"/>
        <a:ea typeface="+mn-ea"/>
        <a:cs typeface="+mn-cs"/>
      </a:defRPr>
    </a:lvl6pPr>
    <a:lvl7pPr marL="1080000" indent="-180000" algn="l" defTabSz="914400" rtl="0" eaLnBrk="1" latinLnBrk="0" hangingPunct="1">
      <a:spcAft>
        <a:spcPts val="400"/>
      </a:spcAft>
      <a:buFont typeface="Arial" panose="020B0604020202020204" pitchFamily="34" charset="0"/>
      <a:buChar char="•"/>
      <a:defRPr sz="1200" kern="1200">
        <a:solidFill>
          <a:schemeClr val="accent1"/>
        </a:solidFill>
        <a:latin typeface="+mn-lt"/>
        <a:ea typeface="+mn-ea"/>
        <a:cs typeface="+mn-cs"/>
      </a:defRPr>
    </a:lvl7pPr>
    <a:lvl8pPr marL="1260000" indent="-180000" algn="l" defTabSz="914400" rtl="0" eaLnBrk="1" latinLnBrk="0" hangingPunct="1">
      <a:spcAft>
        <a:spcPts val="4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1440000" indent="-180000" algn="l" defTabSz="914400" rtl="0" eaLnBrk="1" latinLnBrk="0" hangingPunct="1">
      <a:spcAft>
        <a:spcPts val="400"/>
      </a:spcAft>
      <a:buFont typeface="Arial" panose="020B0604020202020204" pitchFamily="34" charset="0"/>
      <a:buChar char="•"/>
      <a:defRPr sz="1200" kern="1200">
        <a:solidFill>
          <a:schemeClr val="accent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/>
            <a:fld id="{ADC9D5AA-7BF5-427A-B633-040ACB7DB43D}" type="slidenum">
              <a:rPr lang="de-DE" b="1" smtClean="0"/>
              <a:pPr algn="ctr"/>
              <a:t>1</a:t>
            </a:fld>
            <a:endParaRPr lang="de-DE" b="1" dirty="0"/>
          </a:p>
        </p:txBody>
      </p:sp>
    </p:spTree>
    <p:extLst>
      <p:ext uri="{BB962C8B-B14F-4D97-AF65-F5344CB8AC3E}">
        <p14:creationId xmlns:p14="http://schemas.microsoft.com/office/powerpoint/2010/main" val="21086235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2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1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3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se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880BFE37-58E9-495E-A195-6B3E849402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934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880BFE37-58E9-495E-A195-6B3E849402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42738" y="4581128"/>
            <a:ext cx="7665388" cy="1008000"/>
          </a:xfrm>
        </p:spPr>
        <p:txBody>
          <a:bodyPr tIns="108000" anchor="t" anchorCtr="0"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23" name="Bildplatzhalter 12">
            <a:extLst>
              <a:ext uri="{FF2B5EF4-FFF2-40B4-BE49-F238E27FC236}">
                <a16:creationId xmlns:a16="http://schemas.microsoft.com/office/drawing/2014/main" id="{5CBAE015-0B3B-584B-BA87-2F2E6976EC4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0"/>
            <a:ext cx="12192516" cy="6118032"/>
          </a:xfrm>
          <a:custGeom>
            <a:avLst/>
            <a:gdLst>
              <a:gd name="connsiteX0" fmla="*/ 865390 w 12193588"/>
              <a:gd name="connsiteY0" fmla="*/ 0 h 6858000"/>
              <a:gd name="connsiteX1" fmla="*/ 12193588 w 12193588"/>
              <a:gd name="connsiteY1" fmla="*/ 0 h 6858000"/>
              <a:gd name="connsiteX2" fmla="*/ 12193588 w 12193588"/>
              <a:gd name="connsiteY2" fmla="*/ 6858000 h 6858000"/>
              <a:gd name="connsiteX3" fmla="*/ 0 w 12193588"/>
              <a:gd name="connsiteY3" fmla="*/ 6858000 h 6858000"/>
              <a:gd name="connsiteX4" fmla="*/ 0 w 12193588"/>
              <a:gd name="connsiteY4" fmla="*/ 3163701 h 6858000"/>
              <a:gd name="connsiteX5" fmla="*/ 3903195 w 12193588"/>
              <a:gd name="connsiteY5" fmla="*/ 2370151 h 6858000"/>
              <a:gd name="connsiteX6" fmla="*/ 4416724 w 12193588"/>
              <a:gd name="connsiteY6" fmla="*/ 678719 h 6858000"/>
              <a:gd name="connsiteX0" fmla="*/ 865390 w 12193588"/>
              <a:gd name="connsiteY0" fmla="*/ 0 h 6858000"/>
              <a:gd name="connsiteX1" fmla="*/ 12193588 w 12193588"/>
              <a:gd name="connsiteY1" fmla="*/ 0 h 6858000"/>
              <a:gd name="connsiteX2" fmla="*/ 12193588 w 12193588"/>
              <a:gd name="connsiteY2" fmla="*/ 6858000 h 6858000"/>
              <a:gd name="connsiteX3" fmla="*/ 0 w 12193588"/>
              <a:gd name="connsiteY3" fmla="*/ 6858000 h 6858000"/>
              <a:gd name="connsiteX4" fmla="*/ 3305262 w 12193588"/>
              <a:gd name="connsiteY4" fmla="*/ 4338159 h 6858000"/>
              <a:gd name="connsiteX5" fmla="*/ 3903195 w 12193588"/>
              <a:gd name="connsiteY5" fmla="*/ 2370151 h 6858000"/>
              <a:gd name="connsiteX6" fmla="*/ 4416724 w 12193588"/>
              <a:gd name="connsiteY6" fmla="*/ 678719 h 6858000"/>
              <a:gd name="connsiteX7" fmla="*/ 865390 w 12193588"/>
              <a:gd name="connsiteY7" fmla="*/ 0 h 6858000"/>
              <a:gd name="connsiteX0" fmla="*/ 0 w 11328198"/>
              <a:gd name="connsiteY0" fmla="*/ 0 h 6858000"/>
              <a:gd name="connsiteX1" fmla="*/ 11328198 w 11328198"/>
              <a:gd name="connsiteY1" fmla="*/ 0 h 6858000"/>
              <a:gd name="connsiteX2" fmla="*/ 11328198 w 11328198"/>
              <a:gd name="connsiteY2" fmla="*/ 6858000 h 6858000"/>
              <a:gd name="connsiteX3" fmla="*/ 7297098 w 11328198"/>
              <a:gd name="connsiteY3" fmla="*/ 6614719 h 6858000"/>
              <a:gd name="connsiteX4" fmla="*/ 2439872 w 11328198"/>
              <a:gd name="connsiteY4" fmla="*/ 4338159 h 6858000"/>
              <a:gd name="connsiteX5" fmla="*/ 3037805 w 11328198"/>
              <a:gd name="connsiteY5" fmla="*/ 2370151 h 6858000"/>
              <a:gd name="connsiteX6" fmla="*/ 3551334 w 11328198"/>
              <a:gd name="connsiteY6" fmla="*/ 678719 h 6858000"/>
              <a:gd name="connsiteX7" fmla="*/ 0 w 11328198"/>
              <a:gd name="connsiteY7" fmla="*/ 0 h 6858000"/>
              <a:gd name="connsiteX0" fmla="*/ 0 w 11328198"/>
              <a:gd name="connsiteY0" fmla="*/ 0 h 6899944"/>
              <a:gd name="connsiteX1" fmla="*/ 11328198 w 11328198"/>
              <a:gd name="connsiteY1" fmla="*/ 0 h 6899944"/>
              <a:gd name="connsiteX2" fmla="*/ 11328198 w 11328198"/>
              <a:gd name="connsiteY2" fmla="*/ 6858000 h 6899944"/>
              <a:gd name="connsiteX3" fmla="*/ 8891006 w 11328198"/>
              <a:gd name="connsiteY3" fmla="*/ 6899944 h 6899944"/>
              <a:gd name="connsiteX4" fmla="*/ 2439872 w 11328198"/>
              <a:gd name="connsiteY4" fmla="*/ 4338159 h 6899944"/>
              <a:gd name="connsiteX5" fmla="*/ 3037805 w 11328198"/>
              <a:gd name="connsiteY5" fmla="*/ 2370151 h 6899944"/>
              <a:gd name="connsiteX6" fmla="*/ 3551334 w 11328198"/>
              <a:gd name="connsiteY6" fmla="*/ 678719 h 6899944"/>
              <a:gd name="connsiteX7" fmla="*/ 0 w 11328198"/>
              <a:gd name="connsiteY7" fmla="*/ 0 h 6899944"/>
              <a:gd name="connsiteX0" fmla="*/ 0 w 11328198"/>
              <a:gd name="connsiteY0" fmla="*/ 0 h 6899944"/>
              <a:gd name="connsiteX1" fmla="*/ 11328198 w 11328198"/>
              <a:gd name="connsiteY1" fmla="*/ 0 h 6899944"/>
              <a:gd name="connsiteX2" fmla="*/ 11303031 w 11328198"/>
              <a:gd name="connsiteY2" fmla="*/ 6891555 h 6899944"/>
              <a:gd name="connsiteX3" fmla="*/ 8891006 w 11328198"/>
              <a:gd name="connsiteY3" fmla="*/ 6899944 h 6899944"/>
              <a:gd name="connsiteX4" fmla="*/ 2439872 w 11328198"/>
              <a:gd name="connsiteY4" fmla="*/ 4338159 h 6899944"/>
              <a:gd name="connsiteX5" fmla="*/ 3037805 w 11328198"/>
              <a:gd name="connsiteY5" fmla="*/ 2370151 h 6899944"/>
              <a:gd name="connsiteX6" fmla="*/ 3551334 w 11328198"/>
              <a:gd name="connsiteY6" fmla="*/ 678719 h 6899944"/>
              <a:gd name="connsiteX7" fmla="*/ 0 w 11328198"/>
              <a:gd name="connsiteY7" fmla="*/ 0 h 6899944"/>
              <a:gd name="connsiteX0" fmla="*/ 0 w 11328198"/>
              <a:gd name="connsiteY0" fmla="*/ 0 h 6899944"/>
              <a:gd name="connsiteX1" fmla="*/ 11328198 w 11328198"/>
              <a:gd name="connsiteY1" fmla="*/ 0 h 6899944"/>
              <a:gd name="connsiteX2" fmla="*/ 11303031 w 11328198"/>
              <a:gd name="connsiteY2" fmla="*/ 6891555 h 6899944"/>
              <a:gd name="connsiteX3" fmla="*/ 8891006 w 11328198"/>
              <a:gd name="connsiteY3" fmla="*/ 6899944 h 6899944"/>
              <a:gd name="connsiteX4" fmla="*/ 7045428 w 11328198"/>
              <a:gd name="connsiteY4" fmla="*/ 4178768 h 6899944"/>
              <a:gd name="connsiteX5" fmla="*/ 3037805 w 11328198"/>
              <a:gd name="connsiteY5" fmla="*/ 2370151 h 6899944"/>
              <a:gd name="connsiteX6" fmla="*/ 3551334 w 11328198"/>
              <a:gd name="connsiteY6" fmla="*/ 678719 h 6899944"/>
              <a:gd name="connsiteX7" fmla="*/ 0 w 11328198"/>
              <a:gd name="connsiteY7" fmla="*/ 0 h 6899944"/>
              <a:gd name="connsiteX0" fmla="*/ 0 w 11328198"/>
              <a:gd name="connsiteY0" fmla="*/ 0 h 6899944"/>
              <a:gd name="connsiteX1" fmla="*/ 11328198 w 11328198"/>
              <a:gd name="connsiteY1" fmla="*/ 0 h 6899944"/>
              <a:gd name="connsiteX2" fmla="*/ 11303031 w 11328198"/>
              <a:gd name="connsiteY2" fmla="*/ 6891555 h 6899944"/>
              <a:gd name="connsiteX3" fmla="*/ 8891006 w 11328198"/>
              <a:gd name="connsiteY3" fmla="*/ 6899944 h 6899944"/>
              <a:gd name="connsiteX4" fmla="*/ 7288709 w 11328198"/>
              <a:gd name="connsiteY4" fmla="*/ 4640163 h 6899944"/>
              <a:gd name="connsiteX5" fmla="*/ 3037805 w 11328198"/>
              <a:gd name="connsiteY5" fmla="*/ 2370151 h 6899944"/>
              <a:gd name="connsiteX6" fmla="*/ 3551334 w 11328198"/>
              <a:gd name="connsiteY6" fmla="*/ 678719 h 6899944"/>
              <a:gd name="connsiteX7" fmla="*/ 0 w 11328198"/>
              <a:gd name="connsiteY7" fmla="*/ 0 h 6899944"/>
              <a:gd name="connsiteX0" fmla="*/ 871465 w 12199663"/>
              <a:gd name="connsiteY0" fmla="*/ 0 h 6899944"/>
              <a:gd name="connsiteX1" fmla="*/ 12199663 w 12199663"/>
              <a:gd name="connsiteY1" fmla="*/ 0 h 6899944"/>
              <a:gd name="connsiteX2" fmla="*/ 12174496 w 12199663"/>
              <a:gd name="connsiteY2" fmla="*/ 6891555 h 6899944"/>
              <a:gd name="connsiteX3" fmla="*/ 9762471 w 12199663"/>
              <a:gd name="connsiteY3" fmla="*/ 6899944 h 6899944"/>
              <a:gd name="connsiteX4" fmla="*/ 8160174 w 12199663"/>
              <a:gd name="connsiteY4" fmla="*/ 4640163 h 6899944"/>
              <a:gd name="connsiteX5" fmla="*/ 0 w 12199663"/>
              <a:gd name="connsiteY5" fmla="*/ 3469109 h 6899944"/>
              <a:gd name="connsiteX6" fmla="*/ 4422799 w 12199663"/>
              <a:gd name="connsiteY6" fmla="*/ 678719 h 6899944"/>
              <a:gd name="connsiteX7" fmla="*/ 871465 w 12199663"/>
              <a:gd name="connsiteY7" fmla="*/ 0 h 6899944"/>
              <a:gd name="connsiteX0" fmla="*/ 878053 w 12206251"/>
              <a:gd name="connsiteY0" fmla="*/ 789 h 6900733"/>
              <a:gd name="connsiteX1" fmla="*/ 12206251 w 12206251"/>
              <a:gd name="connsiteY1" fmla="*/ 789 h 6900733"/>
              <a:gd name="connsiteX2" fmla="*/ 12181084 w 12206251"/>
              <a:gd name="connsiteY2" fmla="*/ 6892344 h 6900733"/>
              <a:gd name="connsiteX3" fmla="*/ 9769059 w 12206251"/>
              <a:gd name="connsiteY3" fmla="*/ 6900733 h 6900733"/>
              <a:gd name="connsiteX4" fmla="*/ 8166762 w 12206251"/>
              <a:gd name="connsiteY4" fmla="*/ 4640952 h 6900733"/>
              <a:gd name="connsiteX5" fmla="*/ 6588 w 12206251"/>
              <a:gd name="connsiteY5" fmla="*/ 3469898 h 6900733"/>
              <a:gd name="connsiteX6" fmla="*/ 0 w 12206251"/>
              <a:gd name="connsiteY6" fmla="*/ 0 h 6900733"/>
              <a:gd name="connsiteX7" fmla="*/ 878053 w 12206251"/>
              <a:gd name="connsiteY7" fmla="*/ 789 h 6900733"/>
              <a:gd name="connsiteX0" fmla="*/ 8251976 w 12206251"/>
              <a:gd name="connsiteY0" fmla="*/ 1024246 h 6900733"/>
              <a:gd name="connsiteX1" fmla="*/ 12206251 w 12206251"/>
              <a:gd name="connsiteY1" fmla="*/ 789 h 6900733"/>
              <a:gd name="connsiteX2" fmla="*/ 12181084 w 12206251"/>
              <a:gd name="connsiteY2" fmla="*/ 6892344 h 6900733"/>
              <a:gd name="connsiteX3" fmla="*/ 9769059 w 12206251"/>
              <a:gd name="connsiteY3" fmla="*/ 6900733 h 6900733"/>
              <a:gd name="connsiteX4" fmla="*/ 8166762 w 12206251"/>
              <a:gd name="connsiteY4" fmla="*/ 4640952 h 6900733"/>
              <a:gd name="connsiteX5" fmla="*/ 6588 w 12206251"/>
              <a:gd name="connsiteY5" fmla="*/ 3469898 h 6900733"/>
              <a:gd name="connsiteX6" fmla="*/ 0 w 12206251"/>
              <a:gd name="connsiteY6" fmla="*/ 0 h 6900733"/>
              <a:gd name="connsiteX7" fmla="*/ 8251976 w 12206251"/>
              <a:gd name="connsiteY7" fmla="*/ 1024246 h 6900733"/>
              <a:gd name="connsiteX0" fmla="*/ 8251976 w 12181084"/>
              <a:gd name="connsiteY0" fmla="*/ 1024246 h 6900733"/>
              <a:gd name="connsiteX1" fmla="*/ 12038471 w 12181084"/>
              <a:gd name="connsiteY1" fmla="*/ 1988980 h 6900733"/>
              <a:gd name="connsiteX2" fmla="*/ 12181084 w 12181084"/>
              <a:gd name="connsiteY2" fmla="*/ 6892344 h 6900733"/>
              <a:gd name="connsiteX3" fmla="*/ 9769059 w 12181084"/>
              <a:gd name="connsiteY3" fmla="*/ 6900733 h 6900733"/>
              <a:gd name="connsiteX4" fmla="*/ 8166762 w 12181084"/>
              <a:gd name="connsiteY4" fmla="*/ 4640952 h 6900733"/>
              <a:gd name="connsiteX5" fmla="*/ 6588 w 12181084"/>
              <a:gd name="connsiteY5" fmla="*/ 3469898 h 6900733"/>
              <a:gd name="connsiteX6" fmla="*/ 0 w 12181084"/>
              <a:gd name="connsiteY6" fmla="*/ 0 h 6900733"/>
              <a:gd name="connsiteX7" fmla="*/ 8251976 w 12181084"/>
              <a:gd name="connsiteY7" fmla="*/ 1024246 h 6900733"/>
              <a:gd name="connsiteX0" fmla="*/ 8251976 w 12206251"/>
              <a:gd name="connsiteY0" fmla="*/ 1024246 h 6900733"/>
              <a:gd name="connsiteX1" fmla="*/ 12206251 w 12206251"/>
              <a:gd name="connsiteY1" fmla="*/ 1754088 h 6900733"/>
              <a:gd name="connsiteX2" fmla="*/ 12181084 w 12206251"/>
              <a:gd name="connsiteY2" fmla="*/ 6892344 h 6900733"/>
              <a:gd name="connsiteX3" fmla="*/ 9769059 w 12206251"/>
              <a:gd name="connsiteY3" fmla="*/ 6900733 h 6900733"/>
              <a:gd name="connsiteX4" fmla="*/ 8166762 w 12206251"/>
              <a:gd name="connsiteY4" fmla="*/ 4640952 h 6900733"/>
              <a:gd name="connsiteX5" fmla="*/ 6588 w 12206251"/>
              <a:gd name="connsiteY5" fmla="*/ 3469898 h 6900733"/>
              <a:gd name="connsiteX6" fmla="*/ 0 w 12206251"/>
              <a:gd name="connsiteY6" fmla="*/ 0 h 6900733"/>
              <a:gd name="connsiteX7" fmla="*/ 8251976 w 12206251"/>
              <a:gd name="connsiteY7" fmla="*/ 1024246 h 6900733"/>
              <a:gd name="connsiteX0" fmla="*/ 8067418 w 12206251"/>
              <a:gd name="connsiteY0" fmla="*/ 9178 h 6900733"/>
              <a:gd name="connsiteX1" fmla="*/ 12206251 w 12206251"/>
              <a:gd name="connsiteY1" fmla="*/ 1754088 h 6900733"/>
              <a:gd name="connsiteX2" fmla="*/ 12181084 w 12206251"/>
              <a:gd name="connsiteY2" fmla="*/ 6892344 h 6900733"/>
              <a:gd name="connsiteX3" fmla="*/ 9769059 w 12206251"/>
              <a:gd name="connsiteY3" fmla="*/ 6900733 h 6900733"/>
              <a:gd name="connsiteX4" fmla="*/ 8166762 w 12206251"/>
              <a:gd name="connsiteY4" fmla="*/ 4640952 h 6900733"/>
              <a:gd name="connsiteX5" fmla="*/ 6588 w 12206251"/>
              <a:gd name="connsiteY5" fmla="*/ 3469898 h 6900733"/>
              <a:gd name="connsiteX6" fmla="*/ 0 w 12206251"/>
              <a:gd name="connsiteY6" fmla="*/ 0 h 6900733"/>
              <a:gd name="connsiteX7" fmla="*/ 8067418 w 12206251"/>
              <a:gd name="connsiteY7" fmla="*/ 9178 h 6900733"/>
              <a:gd name="connsiteX0" fmla="*/ 8067418 w 12206251"/>
              <a:gd name="connsiteY0" fmla="*/ 9178 h 6900733"/>
              <a:gd name="connsiteX1" fmla="*/ 9223776 w 12206251"/>
              <a:gd name="connsiteY1" fmla="*/ 504129 h 6900733"/>
              <a:gd name="connsiteX2" fmla="*/ 12206251 w 12206251"/>
              <a:gd name="connsiteY2" fmla="*/ 1754088 h 6900733"/>
              <a:gd name="connsiteX3" fmla="*/ 12181084 w 12206251"/>
              <a:gd name="connsiteY3" fmla="*/ 6892344 h 6900733"/>
              <a:gd name="connsiteX4" fmla="*/ 9769059 w 12206251"/>
              <a:gd name="connsiteY4" fmla="*/ 6900733 h 6900733"/>
              <a:gd name="connsiteX5" fmla="*/ 8166762 w 12206251"/>
              <a:gd name="connsiteY5" fmla="*/ 4640952 h 6900733"/>
              <a:gd name="connsiteX6" fmla="*/ 6588 w 12206251"/>
              <a:gd name="connsiteY6" fmla="*/ 3469898 h 6900733"/>
              <a:gd name="connsiteX7" fmla="*/ 0 w 12206251"/>
              <a:gd name="connsiteY7" fmla="*/ 0 h 6900733"/>
              <a:gd name="connsiteX8" fmla="*/ 8067418 w 12206251"/>
              <a:gd name="connsiteY8" fmla="*/ 9178 h 6900733"/>
              <a:gd name="connsiteX0" fmla="*/ 8067418 w 12206251"/>
              <a:gd name="connsiteY0" fmla="*/ 9178 h 6900733"/>
              <a:gd name="connsiteX1" fmla="*/ 8913383 w 12206251"/>
              <a:gd name="connsiteY1" fmla="*/ 1494030 h 6900733"/>
              <a:gd name="connsiteX2" fmla="*/ 12206251 w 12206251"/>
              <a:gd name="connsiteY2" fmla="*/ 1754088 h 6900733"/>
              <a:gd name="connsiteX3" fmla="*/ 12181084 w 12206251"/>
              <a:gd name="connsiteY3" fmla="*/ 6892344 h 6900733"/>
              <a:gd name="connsiteX4" fmla="*/ 9769059 w 12206251"/>
              <a:gd name="connsiteY4" fmla="*/ 6900733 h 6900733"/>
              <a:gd name="connsiteX5" fmla="*/ 8166762 w 12206251"/>
              <a:gd name="connsiteY5" fmla="*/ 4640952 h 6900733"/>
              <a:gd name="connsiteX6" fmla="*/ 6588 w 12206251"/>
              <a:gd name="connsiteY6" fmla="*/ 3469898 h 6900733"/>
              <a:gd name="connsiteX7" fmla="*/ 0 w 12206251"/>
              <a:gd name="connsiteY7" fmla="*/ 0 h 6900733"/>
              <a:gd name="connsiteX8" fmla="*/ 8067418 w 12206251"/>
              <a:gd name="connsiteY8" fmla="*/ 9178 h 6900733"/>
              <a:gd name="connsiteX0" fmla="*/ 8067418 w 12206251"/>
              <a:gd name="connsiteY0" fmla="*/ 9178 h 6900733"/>
              <a:gd name="connsiteX1" fmla="*/ 9173442 w 12206251"/>
              <a:gd name="connsiteY1" fmla="*/ 2173539 h 6900733"/>
              <a:gd name="connsiteX2" fmla="*/ 12206251 w 12206251"/>
              <a:gd name="connsiteY2" fmla="*/ 1754088 h 6900733"/>
              <a:gd name="connsiteX3" fmla="*/ 12181084 w 12206251"/>
              <a:gd name="connsiteY3" fmla="*/ 6892344 h 6900733"/>
              <a:gd name="connsiteX4" fmla="*/ 9769059 w 12206251"/>
              <a:gd name="connsiteY4" fmla="*/ 6900733 h 6900733"/>
              <a:gd name="connsiteX5" fmla="*/ 8166762 w 12206251"/>
              <a:gd name="connsiteY5" fmla="*/ 4640952 h 6900733"/>
              <a:gd name="connsiteX6" fmla="*/ 6588 w 12206251"/>
              <a:gd name="connsiteY6" fmla="*/ 3469898 h 6900733"/>
              <a:gd name="connsiteX7" fmla="*/ 0 w 12206251"/>
              <a:gd name="connsiteY7" fmla="*/ 0 h 6900733"/>
              <a:gd name="connsiteX8" fmla="*/ 8067418 w 12206251"/>
              <a:gd name="connsiteY8" fmla="*/ 9178 h 6900733"/>
              <a:gd name="connsiteX0" fmla="*/ 8067418 w 12206251"/>
              <a:gd name="connsiteY0" fmla="*/ 9178 h 6900733"/>
              <a:gd name="connsiteX1" fmla="*/ 9324444 w 12206251"/>
              <a:gd name="connsiteY1" fmla="*/ 1737311 h 6900733"/>
              <a:gd name="connsiteX2" fmla="*/ 12206251 w 12206251"/>
              <a:gd name="connsiteY2" fmla="*/ 1754088 h 6900733"/>
              <a:gd name="connsiteX3" fmla="*/ 12181084 w 12206251"/>
              <a:gd name="connsiteY3" fmla="*/ 6892344 h 6900733"/>
              <a:gd name="connsiteX4" fmla="*/ 9769059 w 12206251"/>
              <a:gd name="connsiteY4" fmla="*/ 6900733 h 6900733"/>
              <a:gd name="connsiteX5" fmla="*/ 8166762 w 12206251"/>
              <a:gd name="connsiteY5" fmla="*/ 4640952 h 6900733"/>
              <a:gd name="connsiteX6" fmla="*/ 6588 w 12206251"/>
              <a:gd name="connsiteY6" fmla="*/ 3469898 h 6900733"/>
              <a:gd name="connsiteX7" fmla="*/ 0 w 12206251"/>
              <a:gd name="connsiteY7" fmla="*/ 0 h 6900733"/>
              <a:gd name="connsiteX8" fmla="*/ 8067418 w 12206251"/>
              <a:gd name="connsiteY8" fmla="*/ 9178 h 6900733"/>
              <a:gd name="connsiteX0" fmla="*/ 8067418 w 12197862"/>
              <a:gd name="connsiteY0" fmla="*/ 9178 h 6900733"/>
              <a:gd name="connsiteX1" fmla="*/ 9324444 w 12197862"/>
              <a:gd name="connsiteY1" fmla="*/ 1737311 h 6900733"/>
              <a:gd name="connsiteX2" fmla="*/ 12197862 w 12197862"/>
              <a:gd name="connsiteY2" fmla="*/ 1728921 h 6900733"/>
              <a:gd name="connsiteX3" fmla="*/ 12181084 w 12197862"/>
              <a:gd name="connsiteY3" fmla="*/ 6892344 h 6900733"/>
              <a:gd name="connsiteX4" fmla="*/ 9769059 w 12197862"/>
              <a:gd name="connsiteY4" fmla="*/ 6900733 h 6900733"/>
              <a:gd name="connsiteX5" fmla="*/ 8166762 w 12197862"/>
              <a:gd name="connsiteY5" fmla="*/ 4640952 h 6900733"/>
              <a:gd name="connsiteX6" fmla="*/ 6588 w 12197862"/>
              <a:gd name="connsiteY6" fmla="*/ 3469898 h 6900733"/>
              <a:gd name="connsiteX7" fmla="*/ 0 w 12197862"/>
              <a:gd name="connsiteY7" fmla="*/ 0 h 6900733"/>
              <a:gd name="connsiteX8" fmla="*/ 8067418 w 12197862"/>
              <a:gd name="connsiteY8" fmla="*/ 9178 h 6900733"/>
              <a:gd name="connsiteX0" fmla="*/ 8067418 w 12207267"/>
              <a:gd name="connsiteY0" fmla="*/ 9178 h 6900733"/>
              <a:gd name="connsiteX1" fmla="*/ 9324444 w 12207267"/>
              <a:gd name="connsiteY1" fmla="*/ 1737311 h 6900733"/>
              <a:gd name="connsiteX2" fmla="*/ 12197862 w 12207267"/>
              <a:gd name="connsiteY2" fmla="*/ 1728921 h 6900733"/>
              <a:gd name="connsiteX3" fmla="*/ 12206251 w 12207267"/>
              <a:gd name="connsiteY3" fmla="*/ 6892344 h 6900733"/>
              <a:gd name="connsiteX4" fmla="*/ 9769059 w 12207267"/>
              <a:gd name="connsiteY4" fmla="*/ 6900733 h 6900733"/>
              <a:gd name="connsiteX5" fmla="*/ 8166762 w 12207267"/>
              <a:gd name="connsiteY5" fmla="*/ 4640952 h 6900733"/>
              <a:gd name="connsiteX6" fmla="*/ 6588 w 12207267"/>
              <a:gd name="connsiteY6" fmla="*/ 3469898 h 6900733"/>
              <a:gd name="connsiteX7" fmla="*/ 0 w 12207267"/>
              <a:gd name="connsiteY7" fmla="*/ 0 h 6900733"/>
              <a:gd name="connsiteX8" fmla="*/ 8067418 w 12207267"/>
              <a:gd name="connsiteY8" fmla="*/ 9178 h 6900733"/>
              <a:gd name="connsiteX0" fmla="*/ 8067418 w 12207267"/>
              <a:gd name="connsiteY0" fmla="*/ 9178 h 6900733"/>
              <a:gd name="connsiteX1" fmla="*/ 8949690 w 12207267"/>
              <a:gd name="connsiteY1" fmla="*/ 1227645 h 6900733"/>
              <a:gd name="connsiteX2" fmla="*/ 12197862 w 12207267"/>
              <a:gd name="connsiteY2" fmla="*/ 1728921 h 6900733"/>
              <a:gd name="connsiteX3" fmla="*/ 12206251 w 12207267"/>
              <a:gd name="connsiteY3" fmla="*/ 6892344 h 6900733"/>
              <a:gd name="connsiteX4" fmla="*/ 9769059 w 12207267"/>
              <a:gd name="connsiteY4" fmla="*/ 6900733 h 6900733"/>
              <a:gd name="connsiteX5" fmla="*/ 8166762 w 12207267"/>
              <a:gd name="connsiteY5" fmla="*/ 4640952 h 6900733"/>
              <a:gd name="connsiteX6" fmla="*/ 6588 w 12207267"/>
              <a:gd name="connsiteY6" fmla="*/ 3469898 h 6900733"/>
              <a:gd name="connsiteX7" fmla="*/ 0 w 12207267"/>
              <a:gd name="connsiteY7" fmla="*/ 0 h 6900733"/>
              <a:gd name="connsiteX8" fmla="*/ 8067418 w 12207267"/>
              <a:gd name="connsiteY8" fmla="*/ 9178 h 6900733"/>
              <a:gd name="connsiteX0" fmla="*/ 8067418 w 12207016"/>
              <a:gd name="connsiteY0" fmla="*/ 9178 h 6900733"/>
              <a:gd name="connsiteX1" fmla="*/ 8949690 w 12207016"/>
              <a:gd name="connsiteY1" fmla="*/ 1227645 h 6900733"/>
              <a:gd name="connsiteX2" fmla="*/ 12190367 w 12207016"/>
              <a:gd name="connsiteY2" fmla="*/ 1211760 h 6900733"/>
              <a:gd name="connsiteX3" fmla="*/ 12206251 w 12207016"/>
              <a:gd name="connsiteY3" fmla="*/ 6892344 h 6900733"/>
              <a:gd name="connsiteX4" fmla="*/ 9769059 w 12207016"/>
              <a:gd name="connsiteY4" fmla="*/ 6900733 h 6900733"/>
              <a:gd name="connsiteX5" fmla="*/ 8166762 w 12207016"/>
              <a:gd name="connsiteY5" fmla="*/ 4640952 h 6900733"/>
              <a:gd name="connsiteX6" fmla="*/ 6588 w 12207016"/>
              <a:gd name="connsiteY6" fmla="*/ 3469898 h 6900733"/>
              <a:gd name="connsiteX7" fmla="*/ 0 w 12207016"/>
              <a:gd name="connsiteY7" fmla="*/ 0 h 6900733"/>
              <a:gd name="connsiteX8" fmla="*/ 8067418 w 12207016"/>
              <a:gd name="connsiteY8" fmla="*/ 9178 h 6900733"/>
              <a:gd name="connsiteX0" fmla="*/ 8067418 w 12207252"/>
              <a:gd name="connsiteY0" fmla="*/ 9178 h 6900733"/>
              <a:gd name="connsiteX1" fmla="*/ 8949690 w 12207252"/>
              <a:gd name="connsiteY1" fmla="*/ 1227645 h 6900733"/>
              <a:gd name="connsiteX2" fmla="*/ 12190367 w 12207252"/>
              <a:gd name="connsiteY2" fmla="*/ 1211760 h 6900733"/>
              <a:gd name="connsiteX3" fmla="*/ 12206251 w 12207252"/>
              <a:gd name="connsiteY3" fmla="*/ 6892344 h 6900733"/>
              <a:gd name="connsiteX4" fmla="*/ 9769059 w 12207252"/>
              <a:gd name="connsiteY4" fmla="*/ 6900733 h 6900733"/>
              <a:gd name="connsiteX5" fmla="*/ 8166762 w 12207252"/>
              <a:gd name="connsiteY5" fmla="*/ 4640952 h 6900733"/>
              <a:gd name="connsiteX6" fmla="*/ 6588 w 12207252"/>
              <a:gd name="connsiteY6" fmla="*/ 3469898 h 6900733"/>
              <a:gd name="connsiteX7" fmla="*/ 0 w 12207252"/>
              <a:gd name="connsiteY7" fmla="*/ 0 h 6900733"/>
              <a:gd name="connsiteX8" fmla="*/ 8067418 w 12207252"/>
              <a:gd name="connsiteY8" fmla="*/ 9178 h 6900733"/>
              <a:gd name="connsiteX0" fmla="*/ 8067418 w 12207252"/>
              <a:gd name="connsiteY0" fmla="*/ 9178 h 6900733"/>
              <a:gd name="connsiteX1" fmla="*/ 8949690 w 12207252"/>
              <a:gd name="connsiteY1" fmla="*/ 1227645 h 6900733"/>
              <a:gd name="connsiteX2" fmla="*/ 12190367 w 12207252"/>
              <a:gd name="connsiteY2" fmla="*/ 1211760 h 6900733"/>
              <a:gd name="connsiteX3" fmla="*/ 12206251 w 12207252"/>
              <a:gd name="connsiteY3" fmla="*/ 6892344 h 6900733"/>
              <a:gd name="connsiteX4" fmla="*/ 9769059 w 12207252"/>
              <a:gd name="connsiteY4" fmla="*/ 6900733 h 6900733"/>
              <a:gd name="connsiteX5" fmla="*/ 8166762 w 12207252"/>
              <a:gd name="connsiteY5" fmla="*/ 4640952 h 6900733"/>
              <a:gd name="connsiteX6" fmla="*/ 6588 w 12207252"/>
              <a:gd name="connsiteY6" fmla="*/ 3469898 h 6900733"/>
              <a:gd name="connsiteX7" fmla="*/ 0 w 12207252"/>
              <a:gd name="connsiteY7" fmla="*/ 0 h 6900733"/>
              <a:gd name="connsiteX8" fmla="*/ 8067418 w 12207252"/>
              <a:gd name="connsiteY8" fmla="*/ 9178 h 6900733"/>
              <a:gd name="connsiteX0" fmla="*/ 8067418 w 12207252"/>
              <a:gd name="connsiteY0" fmla="*/ 9178 h 6900733"/>
              <a:gd name="connsiteX1" fmla="*/ 8934700 w 12207252"/>
              <a:gd name="connsiteY1" fmla="*/ 1212655 h 6900733"/>
              <a:gd name="connsiteX2" fmla="*/ 12190367 w 12207252"/>
              <a:gd name="connsiteY2" fmla="*/ 1211760 h 6900733"/>
              <a:gd name="connsiteX3" fmla="*/ 12206251 w 12207252"/>
              <a:gd name="connsiteY3" fmla="*/ 6892344 h 6900733"/>
              <a:gd name="connsiteX4" fmla="*/ 9769059 w 12207252"/>
              <a:gd name="connsiteY4" fmla="*/ 6900733 h 6900733"/>
              <a:gd name="connsiteX5" fmla="*/ 8166762 w 12207252"/>
              <a:gd name="connsiteY5" fmla="*/ 4640952 h 6900733"/>
              <a:gd name="connsiteX6" fmla="*/ 6588 w 12207252"/>
              <a:gd name="connsiteY6" fmla="*/ 3469898 h 6900733"/>
              <a:gd name="connsiteX7" fmla="*/ 0 w 12207252"/>
              <a:gd name="connsiteY7" fmla="*/ 0 h 6900733"/>
              <a:gd name="connsiteX8" fmla="*/ 8067418 w 12207252"/>
              <a:gd name="connsiteY8" fmla="*/ 9178 h 6900733"/>
              <a:gd name="connsiteX0" fmla="*/ 8067418 w 12207252"/>
              <a:gd name="connsiteY0" fmla="*/ 9178 h 6900733"/>
              <a:gd name="connsiteX1" fmla="*/ 8934700 w 12207252"/>
              <a:gd name="connsiteY1" fmla="*/ 1212655 h 6900733"/>
              <a:gd name="connsiteX2" fmla="*/ 12190367 w 12207252"/>
              <a:gd name="connsiteY2" fmla="*/ 1211760 h 6900733"/>
              <a:gd name="connsiteX3" fmla="*/ 12206251 w 12207252"/>
              <a:gd name="connsiteY3" fmla="*/ 6892344 h 6900733"/>
              <a:gd name="connsiteX4" fmla="*/ 9769059 w 12207252"/>
              <a:gd name="connsiteY4" fmla="*/ 6900733 h 6900733"/>
              <a:gd name="connsiteX5" fmla="*/ 8166762 w 12207252"/>
              <a:gd name="connsiteY5" fmla="*/ 4640952 h 6900733"/>
              <a:gd name="connsiteX6" fmla="*/ 6588 w 12207252"/>
              <a:gd name="connsiteY6" fmla="*/ 3469898 h 6900733"/>
              <a:gd name="connsiteX7" fmla="*/ 0 w 12207252"/>
              <a:gd name="connsiteY7" fmla="*/ 0 h 6900733"/>
              <a:gd name="connsiteX8" fmla="*/ 8067418 w 12207252"/>
              <a:gd name="connsiteY8" fmla="*/ 9178 h 6900733"/>
              <a:gd name="connsiteX0" fmla="*/ 8067418 w 12207252"/>
              <a:gd name="connsiteY0" fmla="*/ 9178 h 6900733"/>
              <a:gd name="connsiteX1" fmla="*/ 8934700 w 12207252"/>
              <a:gd name="connsiteY1" fmla="*/ 1212655 h 6900733"/>
              <a:gd name="connsiteX2" fmla="*/ 12190367 w 12207252"/>
              <a:gd name="connsiteY2" fmla="*/ 1211760 h 6900733"/>
              <a:gd name="connsiteX3" fmla="*/ 12206251 w 12207252"/>
              <a:gd name="connsiteY3" fmla="*/ 6892344 h 6900733"/>
              <a:gd name="connsiteX4" fmla="*/ 9769059 w 12207252"/>
              <a:gd name="connsiteY4" fmla="*/ 6900733 h 6900733"/>
              <a:gd name="connsiteX5" fmla="*/ 8166762 w 12207252"/>
              <a:gd name="connsiteY5" fmla="*/ 4640952 h 6900733"/>
              <a:gd name="connsiteX6" fmla="*/ 6588 w 12207252"/>
              <a:gd name="connsiteY6" fmla="*/ 3469898 h 6900733"/>
              <a:gd name="connsiteX7" fmla="*/ 0 w 12207252"/>
              <a:gd name="connsiteY7" fmla="*/ 0 h 6900733"/>
              <a:gd name="connsiteX8" fmla="*/ 8067418 w 12207252"/>
              <a:gd name="connsiteY8" fmla="*/ 9178 h 6900733"/>
              <a:gd name="connsiteX0" fmla="*/ 8077395 w 12217229"/>
              <a:gd name="connsiteY0" fmla="*/ 9178 h 6900733"/>
              <a:gd name="connsiteX1" fmla="*/ 8944677 w 12217229"/>
              <a:gd name="connsiteY1" fmla="*/ 1212655 h 6900733"/>
              <a:gd name="connsiteX2" fmla="*/ 12200344 w 12217229"/>
              <a:gd name="connsiteY2" fmla="*/ 1211760 h 6900733"/>
              <a:gd name="connsiteX3" fmla="*/ 12216228 w 12217229"/>
              <a:gd name="connsiteY3" fmla="*/ 6892344 h 6900733"/>
              <a:gd name="connsiteX4" fmla="*/ 9779036 w 12217229"/>
              <a:gd name="connsiteY4" fmla="*/ 6900733 h 6900733"/>
              <a:gd name="connsiteX5" fmla="*/ 8176739 w 12217229"/>
              <a:gd name="connsiteY5" fmla="*/ 4640952 h 6900733"/>
              <a:gd name="connsiteX6" fmla="*/ 0 w 12217229"/>
              <a:gd name="connsiteY6" fmla="*/ 3436768 h 6900733"/>
              <a:gd name="connsiteX7" fmla="*/ 9977 w 12217229"/>
              <a:gd name="connsiteY7" fmla="*/ 0 h 6900733"/>
              <a:gd name="connsiteX8" fmla="*/ 8077395 w 12217229"/>
              <a:gd name="connsiteY8" fmla="*/ 9178 h 6900733"/>
              <a:gd name="connsiteX0" fmla="*/ 8081361 w 12221195"/>
              <a:gd name="connsiteY0" fmla="*/ 12491 h 6904046"/>
              <a:gd name="connsiteX1" fmla="*/ 8948643 w 12221195"/>
              <a:gd name="connsiteY1" fmla="*/ 1215968 h 6904046"/>
              <a:gd name="connsiteX2" fmla="*/ 12204310 w 12221195"/>
              <a:gd name="connsiteY2" fmla="*/ 1215073 h 6904046"/>
              <a:gd name="connsiteX3" fmla="*/ 12220194 w 12221195"/>
              <a:gd name="connsiteY3" fmla="*/ 6895657 h 6904046"/>
              <a:gd name="connsiteX4" fmla="*/ 9783002 w 12221195"/>
              <a:gd name="connsiteY4" fmla="*/ 6904046 h 6904046"/>
              <a:gd name="connsiteX5" fmla="*/ 8180705 w 12221195"/>
              <a:gd name="connsiteY5" fmla="*/ 4644265 h 6904046"/>
              <a:gd name="connsiteX6" fmla="*/ 3966 w 12221195"/>
              <a:gd name="connsiteY6" fmla="*/ 3440081 h 6904046"/>
              <a:gd name="connsiteX7" fmla="*/ 691 w 12221195"/>
              <a:gd name="connsiteY7" fmla="*/ 0 h 6904046"/>
              <a:gd name="connsiteX8" fmla="*/ 8081361 w 12221195"/>
              <a:gd name="connsiteY8" fmla="*/ 12491 h 6904046"/>
              <a:gd name="connsiteX0" fmla="*/ 8081361 w 12221195"/>
              <a:gd name="connsiteY0" fmla="*/ 12491 h 6904046"/>
              <a:gd name="connsiteX1" fmla="*/ 8948643 w 12221195"/>
              <a:gd name="connsiteY1" fmla="*/ 1215968 h 6904046"/>
              <a:gd name="connsiteX2" fmla="*/ 12204310 w 12221195"/>
              <a:gd name="connsiteY2" fmla="*/ 1215073 h 6904046"/>
              <a:gd name="connsiteX3" fmla="*/ 12220194 w 12221195"/>
              <a:gd name="connsiteY3" fmla="*/ 6895657 h 6904046"/>
              <a:gd name="connsiteX4" fmla="*/ 9783002 w 12221195"/>
              <a:gd name="connsiteY4" fmla="*/ 6904046 h 6904046"/>
              <a:gd name="connsiteX5" fmla="*/ 8140949 w 12221195"/>
              <a:gd name="connsiteY5" fmla="*/ 4614448 h 6904046"/>
              <a:gd name="connsiteX6" fmla="*/ 3966 w 12221195"/>
              <a:gd name="connsiteY6" fmla="*/ 3440081 h 6904046"/>
              <a:gd name="connsiteX7" fmla="*/ 691 w 12221195"/>
              <a:gd name="connsiteY7" fmla="*/ 0 h 6904046"/>
              <a:gd name="connsiteX8" fmla="*/ 8081361 w 12221195"/>
              <a:gd name="connsiteY8" fmla="*/ 12491 h 6904046"/>
              <a:gd name="connsiteX0" fmla="*/ 8081361 w 12221195"/>
              <a:gd name="connsiteY0" fmla="*/ 12491 h 6904046"/>
              <a:gd name="connsiteX1" fmla="*/ 8948643 w 12221195"/>
              <a:gd name="connsiteY1" fmla="*/ 1215968 h 6904046"/>
              <a:gd name="connsiteX2" fmla="*/ 12204310 w 12221195"/>
              <a:gd name="connsiteY2" fmla="*/ 1215073 h 6904046"/>
              <a:gd name="connsiteX3" fmla="*/ 12220194 w 12221195"/>
              <a:gd name="connsiteY3" fmla="*/ 6895657 h 6904046"/>
              <a:gd name="connsiteX4" fmla="*/ 9783002 w 12221195"/>
              <a:gd name="connsiteY4" fmla="*/ 6904046 h 6904046"/>
              <a:gd name="connsiteX5" fmla="*/ 8163809 w 12221195"/>
              <a:gd name="connsiteY5" fmla="*/ 4425036 h 6904046"/>
              <a:gd name="connsiteX6" fmla="*/ 3966 w 12221195"/>
              <a:gd name="connsiteY6" fmla="*/ 3440081 h 6904046"/>
              <a:gd name="connsiteX7" fmla="*/ 691 w 12221195"/>
              <a:gd name="connsiteY7" fmla="*/ 0 h 6904046"/>
              <a:gd name="connsiteX8" fmla="*/ 8081361 w 12221195"/>
              <a:gd name="connsiteY8" fmla="*/ 12491 h 6904046"/>
              <a:gd name="connsiteX0" fmla="*/ 8081361 w 12221195"/>
              <a:gd name="connsiteY0" fmla="*/ 12491 h 6904046"/>
              <a:gd name="connsiteX1" fmla="*/ 8948643 w 12221195"/>
              <a:gd name="connsiteY1" fmla="*/ 1215968 h 6904046"/>
              <a:gd name="connsiteX2" fmla="*/ 12204310 w 12221195"/>
              <a:gd name="connsiteY2" fmla="*/ 1215073 h 6904046"/>
              <a:gd name="connsiteX3" fmla="*/ 12220194 w 12221195"/>
              <a:gd name="connsiteY3" fmla="*/ 6895657 h 6904046"/>
              <a:gd name="connsiteX4" fmla="*/ 9783002 w 12221195"/>
              <a:gd name="connsiteY4" fmla="*/ 6904046 h 6904046"/>
              <a:gd name="connsiteX5" fmla="*/ 8095229 w 12221195"/>
              <a:gd name="connsiteY5" fmla="*/ 4591588 h 6904046"/>
              <a:gd name="connsiteX6" fmla="*/ 3966 w 12221195"/>
              <a:gd name="connsiteY6" fmla="*/ 3440081 h 6904046"/>
              <a:gd name="connsiteX7" fmla="*/ 691 w 12221195"/>
              <a:gd name="connsiteY7" fmla="*/ 0 h 6904046"/>
              <a:gd name="connsiteX8" fmla="*/ 8081361 w 12221195"/>
              <a:gd name="connsiteY8" fmla="*/ 12491 h 6904046"/>
              <a:gd name="connsiteX0" fmla="*/ 8081361 w 12221195"/>
              <a:gd name="connsiteY0" fmla="*/ 12491 h 6895657"/>
              <a:gd name="connsiteX1" fmla="*/ 8948643 w 12221195"/>
              <a:gd name="connsiteY1" fmla="*/ 1215968 h 6895657"/>
              <a:gd name="connsiteX2" fmla="*/ 12204310 w 12221195"/>
              <a:gd name="connsiteY2" fmla="*/ 1215073 h 6895657"/>
              <a:gd name="connsiteX3" fmla="*/ 12220194 w 12221195"/>
              <a:gd name="connsiteY3" fmla="*/ 6895657 h 6895657"/>
              <a:gd name="connsiteX4" fmla="*/ 9714422 w 12221195"/>
              <a:gd name="connsiteY4" fmla="*/ 6881186 h 6895657"/>
              <a:gd name="connsiteX5" fmla="*/ 8095229 w 12221195"/>
              <a:gd name="connsiteY5" fmla="*/ 4591588 h 6895657"/>
              <a:gd name="connsiteX6" fmla="*/ 3966 w 12221195"/>
              <a:gd name="connsiteY6" fmla="*/ 3440081 h 6895657"/>
              <a:gd name="connsiteX7" fmla="*/ 691 w 12221195"/>
              <a:gd name="connsiteY7" fmla="*/ 0 h 6895657"/>
              <a:gd name="connsiteX8" fmla="*/ 8081361 w 12221195"/>
              <a:gd name="connsiteY8" fmla="*/ 12491 h 6895657"/>
              <a:gd name="connsiteX0" fmla="*/ 8081361 w 12221195"/>
              <a:gd name="connsiteY0" fmla="*/ 12491 h 6895657"/>
              <a:gd name="connsiteX1" fmla="*/ 8948643 w 12221195"/>
              <a:gd name="connsiteY1" fmla="*/ 1215968 h 6895657"/>
              <a:gd name="connsiteX2" fmla="*/ 12204310 w 12221195"/>
              <a:gd name="connsiteY2" fmla="*/ 1215073 h 6895657"/>
              <a:gd name="connsiteX3" fmla="*/ 12220194 w 12221195"/>
              <a:gd name="connsiteY3" fmla="*/ 6895657 h 6895657"/>
              <a:gd name="connsiteX4" fmla="*/ 9714422 w 12221195"/>
              <a:gd name="connsiteY4" fmla="*/ 6881186 h 6895657"/>
              <a:gd name="connsiteX5" fmla="*/ 8095229 w 12221195"/>
              <a:gd name="connsiteY5" fmla="*/ 4591588 h 6895657"/>
              <a:gd name="connsiteX6" fmla="*/ 3966 w 12221195"/>
              <a:gd name="connsiteY6" fmla="*/ 3440081 h 6895657"/>
              <a:gd name="connsiteX7" fmla="*/ 691 w 12221195"/>
              <a:gd name="connsiteY7" fmla="*/ 0 h 6895657"/>
              <a:gd name="connsiteX8" fmla="*/ 8081361 w 12221195"/>
              <a:gd name="connsiteY8" fmla="*/ 12491 h 6895657"/>
              <a:gd name="connsiteX0" fmla="*/ 8081361 w 12204331"/>
              <a:gd name="connsiteY0" fmla="*/ 12491 h 6881186"/>
              <a:gd name="connsiteX1" fmla="*/ 8948643 w 12204331"/>
              <a:gd name="connsiteY1" fmla="*/ 1215968 h 6881186"/>
              <a:gd name="connsiteX2" fmla="*/ 12204310 w 12204331"/>
              <a:gd name="connsiteY2" fmla="*/ 1215073 h 6881186"/>
              <a:gd name="connsiteX3" fmla="*/ 12076503 w 12204331"/>
              <a:gd name="connsiteY3" fmla="*/ 6732371 h 6881186"/>
              <a:gd name="connsiteX4" fmla="*/ 9714422 w 12204331"/>
              <a:gd name="connsiteY4" fmla="*/ 6881186 h 6881186"/>
              <a:gd name="connsiteX5" fmla="*/ 8095229 w 12204331"/>
              <a:gd name="connsiteY5" fmla="*/ 4591588 h 6881186"/>
              <a:gd name="connsiteX6" fmla="*/ 3966 w 12204331"/>
              <a:gd name="connsiteY6" fmla="*/ 3440081 h 6881186"/>
              <a:gd name="connsiteX7" fmla="*/ 691 w 12204331"/>
              <a:gd name="connsiteY7" fmla="*/ 0 h 6881186"/>
              <a:gd name="connsiteX8" fmla="*/ 8081361 w 12204331"/>
              <a:gd name="connsiteY8" fmla="*/ 12491 h 6881186"/>
              <a:gd name="connsiteX0" fmla="*/ 8081361 w 12204645"/>
              <a:gd name="connsiteY0" fmla="*/ 12491 h 6881186"/>
              <a:gd name="connsiteX1" fmla="*/ 8948643 w 12204645"/>
              <a:gd name="connsiteY1" fmla="*/ 1215968 h 6881186"/>
              <a:gd name="connsiteX2" fmla="*/ 12204310 w 12204645"/>
              <a:gd name="connsiteY2" fmla="*/ 1215073 h 6881186"/>
              <a:gd name="connsiteX3" fmla="*/ 12194069 w 12204645"/>
              <a:gd name="connsiteY3" fmla="*/ 6872796 h 6881186"/>
              <a:gd name="connsiteX4" fmla="*/ 9714422 w 12204645"/>
              <a:gd name="connsiteY4" fmla="*/ 6881186 h 6881186"/>
              <a:gd name="connsiteX5" fmla="*/ 8095229 w 12204645"/>
              <a:gd name="connsiteY5" fmla="*/ 4591588 h 6881186"/>
              <a:gd name="connsiteX6" fmla="*/ 3966 w 12204645"/>
              <a:gd name="connsiteY6" fmla="*/ 3440081 h 6881186"/>
              <a:gd name="connsiteX7" fmla="*/ 691 w 12204645"/>
              <a:gd name="connsiteY7" fmla="*/ 0 h 6881186"/>
              <a:gd name="connsiteX8" fmla="*/ 8081361 w 12204645"/>
              <a:gd name="connsiteY8" fmla="*/ 12491 h 6881186"/>
              <a:gd name="connsiteX0" fmla="*/ 8081361 w 12204645"/>
              <a:gd name="connsiteY0" fmla="*/ 12491 h 6881186"/>
              <a:gd name="connsiteX1" fmla="*/ 8948643 w 12204645"/>
              <a:gd name="connsiteY1" fmla="*/ 1215968 h 6881186"/>
              <a:gd name="connsiteX2" fmla="*/ 12204310 w 12204645"/>
              <a:gd name="connsiteY2" fmla="*/ 1215073 h 6881186"/>
              <a:gd name="connsiteX3" fmla="*/ 12194069 w 12204645"/>
              <a:gd name="connsiteY3" fmla="*/ 6876061 h 6881186"/>
              <a:gd name="connsiteX4" fmla="*/ 9714422 w 12204645"/>
              <a:gd name="connsiteY4" fmla="*/ 6881186 h 6881186"/>
              <a:gd name="connsiteX5" fmla="*/ 8095229 w 12204645"/>
              <a:gd name="connsiteY5" fmla="*/ 4591588 h 6881186"/>
              <a:gd name="connsiteX6" fmla="*/ 3966 w 12204645"/>
              <a:gd name="connsiteY6" fmla="*/ 3440081 h 6881186"/>
              <a:gd name="connsiteX7" fmla="*/ 691 w 12204645"/>
              <a:gd name="connsiteY7" fmla="*/ 0 h 6881186"/>
              <a:gd name="connsiteX8" fmla="*/ 8081361 w 12204645"/>
              <a:gd name="connsiteY8" fmla="*/ 12491 h 6881186"/>
              <a:gd name="connsiteX0" fmla="*/ 8081361 w 12204645"/>
              <a:gd name="connsiteY0" fmla="*/ 12491 h 6881186"/>
              <a:gd name="connsiteX1" fmla="*/ 8948643 w 12204645"/>
              <a:gd name="connsiteY1" fmla="*/ 1215968 h 6881186"/>
              <a:gd name="connsiteX2" fmla="*/ 12204310 w 12204645"/>
              <a:gd name="connsiteY2" fmla="*/ 1215073 h 6881186"/>
              <a:gd name="connsiteX3" fmla="*/ 12194069 w 12204645"/>
              <a:gd name="connsiteY3" fmla="*/ 6876061 h 6881186"/>
              <a:gd name="connsiteX4" fmla="*/ 9714422 w 12204645"/>
              <a:gd name="connsiteY4" fmla="*/ 6881186 h 6881186"/>
              <a:gd name="connsiteX5" fmla="*/ 8095229 w 12204645"/>
              <a:gd name="connsiteY5" fmla="*/ 4591588 h 6881186"/>
              <a:gd name="connsiteX6" fmla="*/ 3966 w 12204645"/>
              <a:gd name="connsiteY6" fmla="*/ 3440081 h 6881186"/>
              <a:gd name="connsiteX7" fmla="*/ 691 w 12204645"/>
              <a:gd name="connsiteY7" fmla="*/ 0 h 6881186"/>
              <a:gd name="connsiteX8" fmla="*/ 8081361 w 12204645"/>
              <a:gd name="connsiteY8" fmla="*/ 12491 h 6881186"/>
              <a:gd name="connsiteX0" fmla="*/ 8081361 w 12204645"/>
              <a:gd name="connsiteY0" fmla="*/ 12491 h 6881186"/>
              <a:gd name="connsiteX1" fmla="*/ 8930536 w 12204645"/>
              <a:gd name="connsiteY1" fmla="*/ 1143540 h 6881186"/>
              <a:gd name="connsiteX2" fmla="*/ 12204310 w 12204645"/>
              <a:gd name="connsiteY2" fmla="*/ 1215073 h 6881186"/>
              <a:gd name="connsiteX3" fmla="*/ 12194069 w 12204645"/>
              <a:gd name="connsiteY3" fmla="*/ 6876061 h 6881186"/>
              <a:gd name="connsiteX4" fmla="*/ 9714422 w 12204645"/>
              <a:gd name="connsiteY4" fmla="*/ 6881186 h 6881186"/>
              <a:gd name="connsiteX5" fmla="*/ 8095229 w 12204645"/>
              <a:gd name="connsiteY5" fmla="*/ 4591588 h 6881186"/>
              <a:gd name="connsiteX6" fmla="*/ 3966 w 12204645"/>
              <a:gd name="connsiteY6" fmla="*/ 3440081 h 6881186"/>
              <a:gd name="connsiteX7" fmla="*/ 691 w 12204645"/>
              <a:gd name="connsiteY7" fmla="*/ 0 h 6881186"/>
              <a:gd name="connsiteX8" fmla="*/ 8081361 w 12204645"/>
              <a:gd name="connsiteY8" fmla="*/ 12491 h 6881186"/>
              <a:gd name="connsiteX0" fmla="*/ 8081361 w 12197494"/>
              <a:gd name="connsiteY0" fmla="*/ 12491 h 6881186"/>
              <a:gd name="connsiteX1" fmla="*/ 8930536 w 12197494"/>
              <a:gd name="connsiteY1" fmla="*/ 1143540 h 6881186"/>
              <a:gd name="connsiteX2" fmla="*/ 12195256 w 12197494"/>
              <a:gd name="connsiteY2" fmla="*/ 1142645 h 6881186"/>
              <a:gd name="connsiteX3" fmla="*/ 12194069 w 12197494"/>
              <a:gd name="connsiteY3" fmla="*/ 6876061 h 6881186"/>
              <a:gd name="connsiteX4" fmla="*/ 9714422 w 12197494"/>
              <a:gd name="connsiteY4" fmla="*/ 6881186 h 6881186"/>
              <a:gd name="connsiteX5" fmla="*/ 8095229 w 12197494"/>
              <a:gd name="connsiteY5" fmla="*/ 4591588 h 6881186"/>
              <a:gd name="connsiteX6" fmla="*/ 3966 w 12197494"/>
              <a:gd name="connsiteY6" fmla="*/ 3440081 h 6881186"/>
              <a:gd name="connsiteX7" fmla="*/ 691 w 12197494"/>
              <a:gd name="connsiteY7" fmla="*/ 0 h 6881186"/>
              <a:gd name="connsiteX8" fmla="*/ 8081361 w 12197494"/>
              <a:gd name="connsiteY8" fmla="*/ 12491 h 6881186"/>
              <a:gd name="connsiteX0" fmla="*/ 8081361 w 12197494"/>
              <a:gd name="connsiteY0" fmla="*/ 12491 h 6881186"/>
              <a:gd name="connsiteX1" fmla="*/ 8930536 w 12197494"/>
              <a:gd name="connsiteY1" fmla="*/ 1143540 h 6881186"/>
              <a:gd name="connsiteX2" fmla="*/ 12195256 w 12197494"/>
              <a:gd name="connsiteY2" fmla="*/ 1142645 h 6881186"/>
              <a:gd name="connsiteX3" fmla="*/ 12194069 w 12197494"/>
              <a:gd name="connsiteY3" fmla="*/ 6876061 h 6881186"/>
              <a:gd name="connsiteX4" fmla="*/ 9714422 w 12197494"/>
              <a:gd name="connsiteY4" fmla="*/ 6881186 h 6881186"/>
              <a:gd name="connsiteX5" fmla="*/ 8095229 w 12197494"/>
              <a:gd name="connsiteY5" fmla="*/ 4591588 h 6881186"/>
              <a:gd name="connsiteX6" fmla="*/ 3966 w 12197494"/>
              <a:gd name="connsiteY6" fmla="*/ 3440081 h 6881186"/>
              <a:gd name="connsiteX7" fmla="*/ 691 w 12197494"/>
              <a:gd name="connsiteY7" fmla="*/ 0 h 6881186"/>
              <a:gd name="connsiteX8" fmla="*/ 8081361 w 12197494"/>
              <a:gd name="connsiteY8" fmla="*/ 12491 h 6881186"/>
              <a:gd name="connsiteX0" fmla="*/ 8081361 w 12197494"/>
              <a:gd name="connsiteY0" fmla="*/ 12491 h 6881186"/>
              <a:gd name="connsiteX1" fmla="*/ 8930536 w 12197494"/>
              <a:gd name="connsiteY1" fmla="*/ 1143540 h 6881186"/>
              <a:gd name="connsiteX2" fmla="*/ 12195256 w 12197494"/>
              <a:gd name="connsiteY2" fmla="*/ 1142645 h 6881186"/>
              <a:gd name="connsiteX3" fmla="*/ 12194069 w 12197494"/>
              <a:gd name="connsiteY3" fmla="*/ 6876061 h 6881186"/>
              <a:gd name="connsiteX4" fmla="*/ 9714422 w 12197494"/>
              <a:gd name="connsiteY4" fmla="*/ 6881186 h 6881186"/>
              <a:gd name="connsiteX5" fmla="*/ 8095229 w 12197494"/>
              <a:gd name="connsiteY5" fmla="*/ 4591588 h 6881186"/>
              <a:gd name="connsiteX6" fmla="*/ 3966 w 12197494"/>
              <a:gd name="connsiteY6" fmla="*/ 3440081 h 6881186"/>
              <a:gd name="connsiteX7" fmla="*/ 691 w 12197494"/>
              <a:gd name="connsiteY7" fmla="*/ 0 h 6881186"/>
              <a:gd name="connsiteX8" fmla="*/ 8081361 w 12197494"/>
              <a:gd name="connsiteY8" fmla="*/ 12491 h 6881186"/>
              <a:gd name="connsiteX0" fmla="*/ 8081361 w 12197494"/>
              <a:gd name="connsiteY0" fmla="*/ 12491 h 6881186"/>
              <a:gd name="connsiteX1" fmla="*/ 8930536 w 12197494"/>
              <a:gd name="connsiteY1" fmla="*/ 1143540 h 6881186"/>
              <a:gd name="connsiteX2" fmla="*/ 12195256 w 12197494"/>
              <a:gd name="connsiteY2" fmla="*/ 1142645 h 6881186"/>
              <a:gd name="connsiteX3" fmla="*/ 12194069 w 12197494"/>
              <a:gd name="connsiteY3" fmla="*/ 6876061 h 6881186"/>
              <a:gd name="connsiteX4" fmla="*/ 9714422 w 12197494"/>
              <a:gd name="connsiteY4" fmla="*/ 6881186 h 6881186"/>
              <a:gd name="connsiteX5" fmla="*/ 7254720 w 12197494"/>
              <a:gd name="connsiteY5" fmla="*/ 4018933 h 6881186"/>
              <a:gd name="connsiteX6" fmla="*/ 3966 w 12197494"/>
              <a:gd name="connsiteY6" fmla="*/ 3440081 h 6881186"/>
              <a:gd name="connsiteX7" fmla="*/ 691 w 12197494"/>
              <a:gd name="connsiteY7" fmla="*/ 0 h 6881186"/>
              <a:gd name="connsiteX8" fmla="*/ 8081361 w 12197494"/>
              <a:gd name="connsiteY8" fmla="*/ 12491 h 6881186"/>
              <a:gd name="connsiteX0" fmla="*/ 8081361 w 12197494"/>
              <a:gd name="connsiteY0" fmla="*/ 12491 h 6881186"/>
              <a:gd name="connsiteX1" fmla="*/ 8930536 w 12197494"/>
              <a:gd name="connsiteY1" fmla="*/ 1143540 h 6881186"/>
              <a:gd name="connsiteX2" fmla="*/ 12195256 w 12197494"/>
              <a:gd name="connsiteY2" fmla="*/ 1142645 h 6881186"/>
              <a:gd name="connsiteX3" fmla="*/ 12194069 w 12197494"/>
              <a:gd name="connsiteY3" fmla="*/ 6876061 h 6881186"/>
              <a:gd name="connsiteX4" fmla="*/ 9714422 w 12197494"/>
              <a:gd name="connsiteY4" fmla="*/ 6881186 h 6881186"/>
              <a:gd name="connsiteX5" fmla="*/ 7254720 w 12197494"/>
              <a:gd name="connsiteY5" fmla="*/ 4018933 h 6881186"/>
              <a:gd name="connsiteX6" fmla="*/ 3966 w 12197494"/>
              <a:gd name="connsiteY6" fmla="*/ 3440081 h 6881186"/>
              <a:gd name="connsiteX7" fmla="*/ 691 w 12197494"/>
              <a:gd name="connsiteY7" fmla="*/ 0 h 6881186"/>
              <a:gd name="connsiteX8" fmla="*/ 8081361 w 12197494"/>
              <a:gd name="connsiteY8" fmla="*/ 12491 h 6881186"/>
              <a:gd name="connsiteX0" fmla="*/ 8081361 w 12197494"/>
              <a:gd name="connsiteY0" fmla="*/ 12491 h 6881186"/>
              <a:gd name="connsiteX1" fmla="*/ 8930536 w 12197494"/>
              <a:gd name="connsiteY1" fmla="*/ 1143540 h 6881186"/>
              <a:gd name="connsiteX2" fmla="*/ 12195256 w 12197494"/>
              <a:gd name="connsiteY2" fmla="*/ 1142645 h 6881186"/>
              <a:gd name="connsiteX3" fmla="*/ 12194069 w 12197494"/>
              <a:gd name="connsiteY3" fmla="*/ 6876061 h 6881186"/>
              <a:gd name="connsiteX4" fmla="*/ 9714422 w 12197494"/>
              <a:gd name="connsiteY4" fmla="*/ 6881186 h 6881186"/>
              <a:gd name="connsiteX5" fmla="*/ 7254720 w 12197494"/>
              <a:gd name="connsiteY5" fmla="*/ 4018933 h 6881186"/>
              <a:gd name="connsiteX6" fmla="*/ 3966 w 12197494"/>
              <a:gd name="connsiteY6" fmla="*/ 3440081 h 6881186"/>
              <a:gd name="connsiteX7" fmla="*/ 691 w 12197494"/>
              <a:gd name="connsiteY7" fmla="*/ 0 h 6881186"/>
              <a:gd name="connsiteX8" fmla="*/ 8081361 w 12197494"/>
              <a:gd name="connsiteY8" fmla="*/ 12491 h 6881186"/>
              <a:gd name="connsiteX0" fmla="*/ 8081361 w 12197494"/>
              <a:gd name="connsiteY0" fmla="*/ 12491 h 6876061"/>
              <a:gd name="connsiteX1" fmla="*/ 8930536 w 12197494"/>
              <a:gd name="connsiteY1" fmla="*/ 1143540 h 6876061"/>
              <a:gd name="connsiteX2" fmla="*/ 12195256 w 12197494"/>
              <a:gd name="connsiteY2" fmla="*/ 1142645 h 6876061"/>
              <a:gd name="connsiteX3" fmla="*/ 12194069 w 12197494"/>
              <a:gd name="connsiteY3" fmla="*/ 6876061 h 6876061"/>
              <a:gd name="connsiteX4" fmla="*/ 9363440 w 12197494"/>
              <a:gd name="connsiteY4" fmla="*/ 6410132 h 6876061"/>
              <a:gd name="connsiteX5" fmla="*/ 7254720 w 12197494"/>
              <a:gd name="connsiteY5" fmla="*/ 4018933 h 6876061"/>
              <a:gd name="connsiteX6" fmla="*/ 3966 w 12197494"/>
              <a:gd name="connsiteY6" fmla="*/ 3440081 h 6876061"/>
              <a:gd name="connsiteX7" fmla="*/ 691 w 12197494"/>
              <a:gd name="connsiteY7" fmla="*/ 0 h 6876061"/>
              <a:gd name="connsiteX8" fmla="*/ 8081361 w 12197494"/>
              <a:gd name="connsiteY8" fmla="*/ 12491 h 6876061"/>
              <a:gd name="connsiteX0" fmla="*/ 8081361 w 12240698"/>
              <a:gd name="connsiteY0" fmla="*/ 12491 h 6410132"/>
              <a:gd name="connsiteX1" fmla="*/ 8930536 w 12240698"/>
              <a:gd name="connsiteY1" fmla="*/ 1143540 h 6410132"/>
              <a:gd name="connsiteX2" fmla="*/ 12195256 w 12240698"/>
              <a:gd name="connsiteY2" fmla="*/ 1142645 h 6410132"/>
              <a:gd name="connsiteX3" fmla="*/ 12240251 w 12240698"/>
              <a:gd name="connsiteY3" fmla="*/ 6118679 h 6410132"/>
              <a:gd name="connsiteX4" fmla="*/ 9363440 w 12240698"/>
              <a:gd name="connsiteY4" fmla="*/ 6410132 h 6410132"/>
              <a:gd name="connsiteX5" fmla="*/ 7254720 w 12240698"/>
              <a:gd name="connsiteY5" fmla="*/ 4018933 h 6410132"/>
              <a:gd name="connsiteX6" fmla="*/ 3966 w 12240698"/>
              <a:gd name="connsiteY6" fmla="*/ 3440081 h 6410132"/>
              <a:gd name="connsiteX7" fmla="*/ 691 w 12240698"/>
              <a:gd name="connsiteY7" fmla="*/ 0 h 6410132"/>
              <a:gd name="connsiteX8" fmla="*/ 8081361 w 12240698"/>
              <a:gd name="connsiteY8" fmla="*/ 12491 h 6410132"/>
              <a:gd name="connsiteX0" fmla="*/ 8081361 w 12240698"/>
              <a:gd name="connsiteY0" fmla="*/ 12491 h 6410132"/>
              <a:gd name="connsiteX1" fmla="*/ 8930536 w 12240698"/>
              <a:gd name="connsiteY1" fmla="*/ 1143540 h 6410132"/>
              <a:gd name="connsiteX2" fmla="*/ 12195256 w 12240698"/>
              <a:gd name="connsiteY2" fmla="*/ 1142645 h 6410132"/>
              <a:gd name="connsiteX3" fmla="*/ 12240251 w 12240698"/>
              <a:gd name="connsiteY3" fmla="*/ 6118679 h 6410132"/>
              <a:gd name="connsiteX4" fmla="*/ 9363440 w 12240698"/>
              <a:gd name="connsiteY4" fmla="*/ 6410132 h 6410132"/>
              <a:gd name="connsiteX5" fmla="*/ 7254720 w 12240698"/>
              <a:gd name="connsiteY5" fmla="*/ 4018933 h 6410132"/>
              <a:gd name="connsiteX6" fmla="*/ 3966 w 12240698"/>
              <a:gd name="connsiteY6" fmla="*/ 3440081 h 6410132"/>
              <a:gd name="connsiteX7" fmla="*/ 691 w 12240698"/>
              <a:gd name="connsiteY7" fmla="*/ 0 h 6410132"/>
              <a:gd name="connsiteX8" fmla="*/ 8081361 w 12240698"/>
              <a:gd name="connsiteY8" fmla="*/ 12491 h 6410132"/>
              <a:gd name="connsiteX0" fmla="*/ 8081361 w 12240698"/>
              <a:gd name="connsiteY0" fmla="*/ 12491 h 6410132"/>
              <a:gd name="connsiteX1" fmla="*/ 8930536 w 12240698"/>
              <a:gd name="connsiteY1" fmla="*/ 1143540 h 6410132"/>
              <a:gd name="connsiteX2" fmla="*/ 12195256 w 12240698"/>
              <a:gd name="connsiteY2" fmla="*/ 1142645 h 6410132"/>
              <a:gd name="connsiteX3" fmla="*/ 12240251 w 12240698"/>
              <a:gd name="connsiteY3" fmla="*/ 6118679 h 6410132"/>
              <a:gd name="connsiteX4" fmla="*/ 9363440 w 12240698"/>
              <a:gd name="connsiteY4" fmla="*/ 6410132 h 6410132"/>
              <a:gd name="connsiteX5" fmla="*/ 7254720 w 12240698"/>
              <a:gd name="connsiteY5" fmla="*/ 4018933 h 6410132"/>
              <a:gd name="connsiteX6" fmla="*/ 3966 w 12240698"/>
              <a:gd name="connsiteY6" fmla="*/ 3440081 h 6410132"/>
              <a:gd name="connsiteX7" fmla="*/ 691 w 12240698"/>
              <a:gd name="connsiteY7" fmla="*/ 0 h 6410132"/>
              <a:gd name="connsiteX8" fmla="*/ 8081361 w 12240698"/>
              <a:gd name="connsiteY8" fmla="*/ 12491 h 6410132"/>
              <a:gd name="connsiteX0" fmla="*/ 8081361 w 12240940"/>
              <a:gd name="connsiteY0" fmla="*/ 12491 h 6410132"/>
              <a:gd name="connsiteX1" fmla="*/ 8930536 w 12240940"/>
              <a:gd name="connsiteY1" fmla="*/ 1143540 h 6410132"/>
              <a:gd name="connsiteX2" fmla="*/ 12213728 w 12240940"/>
              <a:gd name="connsiteY2" fmla="*/ 1151881 h 6410132"/>
              <a:gd name="connsiteX3" fmla="*/ 12240251 w 12240940"/>
              <a:gd name="connsiteY3" fmla="*/ 6118679 h 6410132"/>
              <a:gd name="connsiteX4" fmla="*/ 9363440 w 12240940"/>
              <a:gd name="connsiteY4" fmla="*/ 6410132 h 6410132"/>
              <a:gd name="connsiteX5" fmla="*/ 7254720 w 12240940"/>
              <a:gd name="connsiteY5" fmla="*/ 4018933 h 6410132"/>
              <a:gd name="connsiteX6" fmla="*/ 3966 w 12240940"/>
              <a:gd name="connsiteY6" fmla="*/ 3440081 h 6410132"/>
              <a:gd name="connsiteX7" fmla="*/ 691 w 12240940"/>
              <a:gd name="connsiteY7" fmla="*/ 0 h 6410132"/>
              <a:gd name="connsiteX8" fmla="*/ 8081361 w 12240940"/>
              <a:gd name="connsiteY8" fmla="*/ 12491 h 6410132"/>
              <a:gd name="connsiteX0" fmla="*/ 8081361 w 12214056"/>
              <a:gd name="connsiteY0" fmla="*/ 12491 h 6410132"/>
              <a:gd name="connsiteX1" fmla="*/ 8930536 w 12214056"/>
              <a:gd name="connsiteY1" fmla="*/ 1143540 h 6410132"/>
              <a:gd name="connsiteX2" fmla="*/ 12213728 w 12214056"/>
              <a:gd name="connsiteY2" fmla="*/ 1151881 h 6410132"/>
              <a:gd name="connsiteX3" fmla="*/ 12203306 w 12214056"/>
              <a:gd name="connsiteY3" fmla="*/ 6100207 h 6410132"/>
              <a:gd name="connsiteX4" fmla="*/ 9363440 w 12214056"/>
              <a:gd name="connsiteY4" fmla="*/ 6410132 h 6410132"/>
              <a:gd name="connsiteX5" fmla="*/ 7254720 w 12214056"/>
              <a:gd name="connsiteY5" fmla="*/ 4018933 h 6410132"/>
              <a:gd name="connsiteX6" fmla="*/ 3966 w 12214056"/>
              <a:gd name="connsiteY6" fmla="*/ 3440081 h 6410132"/>
              <a:gd name="connsiteX7" fmla="*/ 691 w 12214056"/>
              <a:gd name="connsiteY7" fmla="*/ 0 h 6410132"/>
              <a:gd name="connsiteX8" fmla="*/ 8081361 w 12214056"/>
              <a:gd name="connsiteY8" fmla="*/ 12491 h 6410132"/>
              <a:gd name="connsiteX0" fmla="*/ 8081361 w 12204251"/>
              <a:gd name="connsiteY0" fmla="*/ 12491 h 6410132"/>
              <a:gd name="connsiteX1" fmla="*/ 8930536 w 12204251"/>
              <a:gd name="connsiteY1" fmla="*/ 1143540 h 6410132"/>
              <a:gd name="connsiteX2" fmla="*/ 12186019 w 12204251"/>
              <a:gd name="connsiteY2" fmla="*/ 1133408 h 6410132"/>
              <a:gd name="connsiteX3" fmla="*/ 12203306 w 12204251"/>
              <a:gd name="connsiteY3" fmla="*/ 6100207 h 6410132"/>
              <a:gd name="connsiteX4" fmla="*/ 9363440 w 12204251"/>
              <a:gd name="connsiteY4" fmla="*/ 6410132 h 6410132"/>
              <a:gd name="connsiteX5" fmla="*/ 7254720 w 12204251"/>
              <a:gd name="connsiteY5" fmla="*/ 4018933 h 6410132"/>
              <a:gd name="connsiteX6" fmla="*/ 3966 w 12204251"/>
              <a:gd name="connsiteY6" fmla="*/ 3440081 h 6410132"/>
              <a:gd name="connsiteX7" fmla="*/ 691 w 12204251"/>
              <a:gd name="connsiteY7" fmla="*/ 0 h 6410132"/>
              <a:gd name="connsiteX8" fmla="*/ 8081361 w 12204251"/>
              <a:gd name="connsiteY8" fmla="*/ 12491 h 6410132"/>
              <a:gd name="connsiteX0" fmla="*/ 8081361 w 12204251"/>
              <a:gd name="connsiteY0" fmla="*/ 12491 h 6410132"/>
              <a:gd name="connsiteX1" fmla="*/ 8930536 w 12204251"/>
              <a:gd name="connsiteY1" fmla="*/ 1143540 h 6410132"/>
              <a:gd name="connsiteX2" fmla="*/ 12186019 w 12204251"/>
              <a:gd name="connsiteY2" fmla="*/ 1133408 h 6410132"/>
              <a:gd name="connsiteX3" fmla="*/ 12203306 w 12204251"/>
              <a:gd name="connsiteY3" fmla="*/ 6100207 h 6410132"/>
              <a:gd name="connsiteX4" fmla="*/ 9363440 w 12204251"/>
              <a:gd name="connsiteY4" fmla="*/ 6410132 h 6410132"/>
              <a:gd name="connsiteX5" fmla="*/ 7254720 w 12204251"/>
              <a:gd name="connsiteY5" fmla="*/ 4018933 h 6410132"/>
              <a:gd name="connsiteX6" fmla="*/ 3966 w 12204251"/>
              <a:gd name="connsiteY6" fmla="*/ 3440081 h 6410132"/>
              <a:gd name="connsiteX7" fmla="*/ 691 w 12204251"/>
              <a:gd name="connsiteY7" fmla="*/ 0 h 6410132"/>
              <a:gd name="connsiteX8" fmla="*/ 8081361 w 12204251"/>
              <a:gd name="connsiteY8" fmla="*/ 12491 h 6410132"/>
              <a:gd name="connsiteX0" fmla="*/ 8081361 w 12204251"/>
              <a:gd name="connsiteY0" fmla="*/ 12491 h 6410132"/>
              <a:gd name="connsiteX1" fmla="*/ 8930536 w 12204251"/>
              <a:gd name="connsiteY1" fmla="*/ 1143540 h 6410132"/>
              <a:gd name="connsiteX2" fmla="*/ 12186019 w 12204251"/>
              <a:gd name="connsiteY2" fmla="*/ 1133408 h 6410132"/>
              <a:gd name="connsiteX3" fmla="*/ 12203306 w 12204251"/>
              <a:gd name="connsiteY3" fmla="*/ 6100207 h 6410132"/>
              <a:gd name="connsiteX4" fmla="*/ 9363440 w 12204251"/>
              <a:gd name="connsiteY4" fmla="*/ 6410132 h 6410132"/>
              <a:gd name="connsiteX5" fmla="*/ 7254720 w 12204251"/>
              <a:gd name="connsiteY5" fmla="*/ 4018933 h 6410132"/>
              <a:gd name="connsiteX6" fmla="*/ 3966 w 12204251"/>
              <a:gd name="connsiteY6" fmla="*/ 3440081 h 6410132"/>
              <a:gd name="connsiteX7" fmla="*/ 691 w 12204251"/>
              <a:gd name="connsiteY7" fmla="*/ 0 h 6410132"/>
              <a:gd name="connsiteX8" fmla="*/ 8081361 w 12204251"/>
              <a:gd name="connsiteY8" fmla="*/ 12491 h 6410132"/>
              <a:gd name="connsiteX0" fmla="*/ 8081361 w 12204251"/>
              <a:gd name="connsiteY0" fmla="*/ 12491 h 6410132"/>
              <a:gd name="connsiteX1" fmla="*/ 8930536 w 12204251"/>
              <a:gd name="connsiteY1" fmla="*/ 1143540 h 6410132"/>
              <a:gd name="connsiteX2" fmla="*/ 12186019 w 12204251"/>
              <a:gd name="connsiteY2" fmla="*/ 1133408 h 6410132"/>
              <a:gd name="connsiteX3" fmla="*/ 12203306 w 12204251"/>
              <a:gd name="connsiteY3" fmla="*/ 6100207 h 6410132"/>
              <a:gd name="connsiteX4" fmla="*/ 9363440 w 12204251"/>
              <a:gd name="connsiteY4" fmla="*/ 6410132 h 6410132"/>
              <a:gd name="connsiteX5" fmla="*/ 7254720 w 12204251"/>
              <a:gd name="connsiteY5" fmla="*/ 4018933 h 6410132"/>
              <a:gd name="connsiteX6" fmla="*/ 3966 w 12204251"/>
              <a:gd name="connsiteY6" fmla="*/ 3440081 h 6410132"/>
              <a:gd name="connsiteX7" fmla="*/ 691 w 12204251"/>
              <a:gd name="connsiteY7" fmla="*/ 0 h 6410132"/>
              <a:gd name="connsiteX8" fmla="*/ 8081361 w 12204251"/>
              <a:gd name="connsiteY8" fmla="*/ 12491 h 6410132"/>
              <a:gd name="connsiteX0" fmla="*/ 8081361 w 12204251"/>
              <a:gd name="connsiteY0" fmla="*/ 12491 h 6410132"/>
              <a:gd name="connsiteX1" fmla="*/ 8924186 w 12204251"/>
              <a:gd name="connsiteY1" fmla="*/ 1127665 h 6410132"/>
              <a:gd name="connsiteX2" fmla="*/ 12186019 w 12204251"/>
              <a:gd name="connsiteY2" fmla="*/ 1133408 h 6410132"/>
              <a:gd name="connsiteX3" fmla="*/ 12203306 w 12204251"/>
              <a:gd name="connsiteY3" fmla="*/ 6100207 h 6410132"/>
              <a:gd name="connsiteX4" fmla="*/ 9363440 w 12204251"/>
              <a:gd name="connsiteY4" fmla="*/ 6410132 h 6410132"/>
              <a:gd name="connsiteX5" fmla="*/ 7254720 w 12204251"/>
              <a:gd name="connsiteY5" fmla="*/ 4018933 h 6410132"/>
              <a:gd name="connsiteX6" fmla="*/ 3966 w 12204251"/>
              <a:gd name="connsiteY6" fmla="*/ 3440081 h 6410132"/>
              <a:gd name="connsiteX7" fmla="*/ 691 w 12204251"/>
              <a:gd name="connsiteY7" fmla="*/ 0 h 6410132"/>
              <a:gd name="connsiteX8" fmla="*/ 8081361 w 12204251"/>
              <a:gd name="connsiteY8" fmla="*/ 12491 h 6410132"/>
              <a:gd name="connsiteX0" fmla="*/ 8081361 w 12204251"/>
              <a:gd name="connsiteY0" fmla="*/ 12491 h 6410132"/>
              <a:gd name="connsiteX1" fmla="*/ 8924186 w 12204251"/>
              <a:gd name="connsiteY1" fmla="*/ 1127665 h 6410132"/>
              <a:gd name="connsiteX2" fmla="*/ 12186019 w 12204251"/>
              <a:gd name="connsiteY2" fmla="*/ 1133408 h 6410132"/>
              <a:gd name="connsiteX3" fmla="*/ 12203306 w 12204251"/>
              <a:gd name="connsiteY3" fmla="*/ 6100207 h 6410132"/>
              <a:gd name="connsiteX4" fmla="*/ 9363440 w 12204251"/>
              <a:gd name="connsiteY4" fmla="*/ 6410132 h 6410132"/>
              <a:gd name="connsiteX5" fmla="*/ 7254720 w 12204251"/>
              <a:gd name="connsiteY5" fmla="*/ 4018933 h 6410132"/>
              <a:gd name="connsiteX6" fmla="*/ 3966 w 12204251"/>
              <a:gd name="connsiteY6" fmla="*/ 3440081 h 6410132"/>
              <a:gd name="connsiteX7" fmla="*/ 691 w 12204251"/>
              <a:gd name="connsiteY7" fmla="*/ 0 h 6410132"/>
              <a:gd name="connsiteX8" fmla="*/ 8081361 w 12204251"/>
              <a:gd name="connsiteY8" fmla="*/ 12491 h 6410132"/>
              <a:gd name="connsiteX0" fmla="*/ 8078186 w 12204251"/>
              <a:gd name="connsiteY0" fmla="*/ 2966 h 6410132"/>
              <a:gd name="connsiteX1" fmla="*/ 8924186 w 12204251"/>
              <a:gd name="connsiteY1" fmla="*/ 1127665 h 6410132"/>
              <a:gd name="connsiteX2" fmla="*/ 12186019 w 12204251"/>
              <a:gd name="connsiteY2" fmla="*/ 1133408 h 6410132"/>
              <a:gd name="connsiteX3" fmla="*/ 12203306 w 12204251"/>
              <a:gd name="connsiteY3" fmla="*/ 6100207 h 6410132"/>
              <a:gd name="connsiteX4" fmla="*/ 9363440 w 12204251"/>
              <a:gd name="connsiteY4" fmla="*/ 6410132 h 6410132"/>
              <a:gd name="connsiteX5" fmla="*/ 7254720 w 12204251"/>
              <a:gd name="connsiteY5" fmla="*/ 4018933 h 6410132"/>
              <a:gd name="connsiteX6" fmla="*/ 3966 w 12204251"/>
              <a:gd name="connsiteY6" fmla="*/ 3440081 h 6410132"/>
              <a:gd name="connsiteX7" fmla="*/ 691 w 12204251"/>
              <a:gd name="connsiteY7" fmla="*/ 0 h 6410132"/>
              <a:gd name="connsiteX8" fmla="*/ 8078186 w 12204251"/>
              <a:gd name="connsiteY8" fmla="*/ 2966 h 6410132"/>
              <a:gd name="connsiteX0" fmla="*/ 8078186 w 12204251"/>
              <a:gd name="connsiteY0" fmla="*/ 2966 h 6410132"/>
              <a:gd name="connsiteX1" fmla="*/ 8924186 w 12204251"/>
              <a:gd name="connsiteY1" fmla="*/ 1127665 h 6410132"/>
              <a:gd name="connsiteX2" fmla="*/ 12186019 w 12204251"/>
              <a:gd name="connsiteY2" fmla="*/ 1133408 h 6410132"/>
              <a:gd name="connsiteX3" fmla="*/ 12203306 w 12204251"/>
              <a:gd name="connsiteY3" fmla="*/ 6100207 h 6410132"/>
              <a:gd name="connsiteX4" fmla="*/ 9363440 w 12204251"/>
              <a:gd name="connsiteY4" fmla="*/ 6410132 h 6410132"/>
              <a:gd name="connsiteX5" fmla="*/ 7254720 w 12204251"/>
              <a:gd name="connsiteY5" fmla="*/ 4018933 h 6410132"/>
              <a:gd name="connsiteX6" fmla="*/ 3966 w 12204251"/>
              <a:gd name="connsiteY6" fmla="*/ 3440081 h 6410132"/>
              <a:gd name="connsiteX7" fmla="*/ 691 w 12204251"/>
              <a:gd name="connsiteY7" fmla="*/ 0 h 6410132"/>
              <a:gd name="connsiteX8" fmla="*/ 8078186 w 12204251"/>
              <a:gd name="connsiteY8" fmla="*/ 2966 h 6410132"/>
              <a:gd name="connsiteX0" fmla="*/ 8078186 w 12204251"/>
              <a:gd name="connsiteY0" fmla="*/ 2966 h 6105332"/>
              <a:gd name="connsiteX1" fmla="*/ 8924186 w 12204251"/>
              <a:gd name="connsiteY1" fmla="*/ 1127665 h 6105332"/>
              <a:gd name="connsiteX2" fmla="*/ 12186019 w 12204251"/>
              <a:gd name="connsiteY2" fmla="*/ 1133408 h 6105332"/>
              <a:gd name="connsiteX3" fmla="*/ 12203306 w 12204251"/>
              <a:gd name="connsiteY3" fmla="*/ 6100207 h 6105332"/>
              <a:gd name="connsiteX4" fmla="*/ 9109440 w 12204251"/>
              <a:gd name="connsiteY4" fmla="*/ 6105332 h 6105332"/>
              <a:gd name="connsiteX5" fmla="*/ 7254720 w 12204251"/>
              <a:gd name="connsiteY5" fmla="*/ 4018933 h 6105332"/>
              <a:gd name="connsiteX6" fmla="*/ 3966 w 12204251"/>
              <a:gd name="connsiteY6" fmla="*/ 3440081 h 6105332"/>
              <a:gd name="connsiteX7" fmla="*/ 691 w 12204251"/>
              <a:gd name="connsiteY7" fmla="*/ 0 h 6105332"/>
              <a:gd name="connsiteX8" fmla="*/ 8078186 w 12204251"/>
              <a:gd name="connsiteY8" fmla="*/ 2966 h 6105332"/>
              <a:gd name="connsiteX0" fmla="*/ 8078186 w 12204251"/>
              <a:gd name="connsiteY0" fmla="*/ 2966 h 6105332"/>
              <a:gd name="connsiteX1" fmla="*/ 8924186 w 12204251"/>
              <a:gd name="connsiteY1" fmla="*/ 1127665 h 6105332"/>
              <a:gd name="connsiteX2" fmla="*/ 12186019 w 12204251"/>
              <a:gd name="connsiteY2" fmla="*/ 1133408 h 6105332"/>
              <a:gd name="connsiteX3" fmla="*/ 12203306 w 12204251"/>
              <a:gd name="connsiteY3" fmla="*/ 6100207 h 6105332"/>
              <a:gd name="connsiteX4" fmla="*/ 9109440 w 12204251"/>
              <a:gd name="connsiteY4" fmla="*/ 6105332 h 6105332"/>
              <a:gd name="connsiteX5" fmla="*/ 7521420 w 12204251"/>
              <a:gd name="connsiteY5" fmla="*/ 4044333 h 6105332"/>
              <a:gd name="connsiteX6" fmla="*/ 3966 w 12204251"/>
              <a:gd name="connsiteY6" fmla="*/ 3440081 h 6105332"/>
              <a:gd name="connsiteX7" fmla="*/ 691 w 12204251"/>
              <a:gd name="connsiteY7" fmla="*/ 0 h 6105332"/>
              <a:gd name="connsiteX8" fmla="*/ 8078186 w 12204251"/>
              <a:gd name="connsiteY8" fmla="*/ 2966 h 6105332"/>
              <a:gd name="connsiteX0" fmla="*/ 8078186 w 12204251"/>
              <a:gd name="connsiteY0" fmla="*/ 2966 h 6105332"/>
              <a:gd name="connsiteX1" fmla="*/ 8924186 w 12204251"/>
              <a:gd name="connsiteY1" fmla="*/ 1127665 h 6105332"/>
              <a:gd name="connsiteX2" fmla="*/ 12186019 w 12204251"/>
              <a:gd name="connsiteY2" fmla="*/ 1133408 h 6105332"/>
              <a:gd name="connsiteX3" fmla="*/ 12203306 w 12204251"/>
              <a:gd name="connsiteY3" fmla="*/ 6100207 h 6105332"/>
              <a:gd name="connsiteX4" fmla="*/ 9109440 w 12204251"/>
              <a:gd name="connsiteY4" fmla="*/ 6105332 h 6105332"/>
              <a:gd name="connsiteX5" fmla="*/ 7521420 w 12204251"/>
              <a:gd name="connsiteY5" fmla="*/ 4044333 h 6105332"/>
              <a:gd name="connsiteX6" fmla="*/ 3966 w 12204251"/>
              <a:gd name="connsiteY6" fmla="*/ 3300381 h 6105332"/>
              <a:gd name="connsiteX7" fmla="*/ 691 w 12204251"/>
              <a:gd name="connsiteY7" fmla="*/ 0 h 6105332"/>
              <a:gd name="connsiteX8" fmla="*/ 8078186 w 12204251"/>
              <a:gd name="connsiteY8" fmla="*/ 2966 h 6105332"/>
              <a:gd name="connsiteX0" fmla="*/ 8078186 w 12192516"/>
              <a:gd name="connsiteY0" fmla="*/ 2966 h 6105332"/>
              <a:gd name="connsiteX1" fmla="*/ 8924186 w 12192516"/>
              <a:gd name="connsiteY1" fmla="*/ 1127665 h 6105332"/>
              <a:gd name="connsiteX2" fmla="*/ 12186019 w 12192516"/>
              <a:gd name="connsiteY2" fmla="*/ 1133408 h 6105332"/>
              <a:gd name="connsiteX3" fmla="*/ 12190606 w 12192516"/>
              <a:gd name="connsiteY3" fmla="*/ 5693807 h 6105332"/>
              <a:gd name="connsiteX4" fmla="*/ 9109440 w 12192516"/>
              <a:gd name="connsiteY4" fmla="*/ 6105332 h 6105332"/>
              <a:gd name="connsiteX5" fmla="*/ 7521420 w 12192516"/>
              <a:gd name="connsiteY5" fmla="*/ 4044333 h 6105332"/>
              <a:gd name="connsiteX6" fmla="*/ 3966 w 12192516"/>
              <a:gd name="connsiteY6" fmla="*/ 3300381 h 6105332"/>
              <a:gd name="connsiteX7" fmla="*/ 691 w 12192516"/>
              <a:gd name="connsiteY7" fmla="*/ 0 h 6105332"/>
              <a:gd name="connsiteX8" fmla="*/ 8078186 w 12192516"/>
              <a:gd name="connsiteY8" fmla="*/ 2966 h 6105332"/>
              <a:gd name="connsiteX0" fmla="*/ 8078186 w 12192516"/>
              <a:gd name="connsiteY0" fmla="*/ 2966 h 6105332"/>
              <a:gd name="connsiteX1" fmla="*/ 8924186 w 12192516"/>
              <a:gd name="connsiteY1" fmla="*/ 1127665 h 6105332"/>
              <a:gd name="connsiteX2" fmla="*/ 12186019 w 12192516"/>
              <a:gd name="connsiteY2" fmla="*/ 1133408 h 6105332"/>
              <a:gd name="connsiteX3" fmla="*/ 12190606 w 12192516"/>
              <a:gd name="connsiteY3" fmla="*/ 5693807 h 6105332"/>
              <a:gd name="connsiteX4" fmla="*/ 9109440 w 12192516"/>
              <a:gd name="connsiteY4" fmla="*/ 6105332 h 6105332"/>
              <a:gd name="connsiteX5" fmla="*/ 7978620 w 12192516"/>
              <a:gd name="connsiteY5" fmla="*/ 4095133 h 6105332"/>
              <a:gd name="connsiteX6" fmla="*/ 3966 w 12192516"/>
              <a:gd name="connsiteY6" fmla="*/ 3300381 h 6105332"/>
              <a:gd name="connsiteX7" fmla="*/ 691 w 12192516"/>
              <a:gd name="connsiteY7" fmla="*/ 0 h 6105332"/>
              <a:gd name="connsiteX8" fmla="*/ 8078186 w 12192516"/>
              <a:gd name="connsiteY8" fmla="*/ 2966 h 6105332"/>
              <a:gd name="connsiteX0" fmla="*/ 8078186 w 12192516"/>
              <a:gd name="connsiteY0" fmla="*/ 2966 h 6118032"/>
              <a:gd name="connsiteX1" fmla="*/ 8924186 w 12192516"/>
              <a:gd name="connsiteY1" fmla="*/ 1127665 h 6118032"/>
              <a:gd name="connsiteX2" fmla="*/ 12186019 w 12192516"/>
              <a:gd name="connsiteY2" fmla="*/ 1133408 h 6118032"/>
              <a:gd name="connsiteX3" fmla="*/ 12190606 w 12192516"/>
              <a:gd name="connsiteY3" fmla="*/ 5693807 h 6118032"/>
              <a:gd name="connsiteX4" fmla="*/ 9553940 w 12192516"/>
              <a:gd name="connsiteY4" fmla="*/ 6118032 h 6118032"/>
              <a:gd name="connsiteX5" fmla="*/ 7978620 w 12192516"/>
              <a:gd name="connsiteY5" fmla="*/ 4095133 h 6118032"/>
              <a:gd name="connsiteX6" fmla="*/ 3966 w 12192516"/>
              <a:gd name="connsiteY6" fmla="*/ 3300381 h 6118032"/>
              <a:gd name="connsiteX7" fmla="*/ 691 w 12192516"/>
              <a:gd name="connsiteY7" fmla="*/ 0 h 6118032"/>
              <a:gd name="connsiteX8" fmla="*/ 8078186 w 12192516"/>
              <a:gd name="connsiteY8" fmla="*/ 2966 h 6118032"/>
              <a:gd name="connsiteX0" fmla="*/ 8078186 w 12192516"/>
              <a:gd name="connsiteY0" fmla="*/ 2966 h 6118032"/>
              <a:gd name="connsiteX1" fmla="*/ 8924186 w 12192516"/>
              <a:gd name="connsiteY1" fmla="*/ 1127665 h 6118032"/>
              <a:gd name="connsiteX2" fmla="*/ 12186019 w 12192516"/>
              <a:gd name="connsiteY2" fmla="*/ 1133408 h 6118032"/>
              <a:gd name="connsiteX3" fmla="*/ 12190606 w 12192516"/>
              <a:gd name="connsiteY3" fmla="*/ 5693807 h 6118032"/>
              <a:gd name="connsiteX4" fmla="*/ 9553940 w 12192516"/>
              <a:gd name="connsiteY4" fmla="*/ 6118032 h 6118032"/>
              <a:gd name="connsiteX5" fmla="*/ 8092920 w 12192516"/>
              <a:gd name="connsiteY5" fmla="*/ 4133233 h 6118032"/>
              <a:gd name="connsiteX6" fmla="*/ 3966 w 12192516"/>
              <a:gd name="connsiteY6" fmla="*/ 3300381 h 6118032"/>
              <a:gd name="connsiteX7" fmla="*/ 691 w 12192516"/>
              <a:gd name="connsiteY7" fmla="*/ 0 h 6118032"/>
              <a:gd name="connsiteX8" fmla="*/ 8078186 w 12192516"/>
              <a:gd name="connsiteY8" fmla="*/ 2966 h 6118032"/>
              <a:gd name="connsiteX0" fmla="*/ 8078186 w 12192516"/>
              <a:gd name="connsiteY0" fmla="*/ 2966 h 6118032"/>
              <a:gd name="connsiteX1" fmla="*/ 8924186 w 12192516"/>
              <a:gd name="connsiteY1" fmla="*/ 1127665 h 6118032"/>
              <a:gd name="connsiteX2" fmla="*/ 12186019 w 12192516"/>
              <a:gd name="connsiteY2" fmla="*/ 1133408 h 6118032"/>
              <a:gd name="connsiteX3" fmla="*/ 12190606 w 12192516"/>
              <a:gd name="connsiteY3" fmla="*/ 5693807 h 6118032"/>
              <a:gd name="connsiteX4" fmla="*/ 9553940 w 12192516"/>
              <a:gd name="connsiteY4" fmla="*/ 6118032 h 6118032"/>
              <a:gd name="connsiteX5" fmla="*/ 8092920 w 12192516"/>
              <a:gd name="connsiteY5" fmla="*/ 4133233 h 6118032"/>
              <a:gd name="connsiteX6" fmla="*/ 3966 w 12192516"/>
              <a:gd name="connsiteY6" fmla="*/ 3770281 h 6118032"/>
              <a:gd name="connsiteX7" fmla="*/ 691 w 12192516"/>
              <a:gd name="connsiteY7" fmla="*/ 0 h 6118032"/>
              <a:gd name="connsiteX8" fmla="*/ 8078186 w 12192516"/>
              <a:gd name="connsiteY8" fmla="*/ 2966 h 6118032"/>
              <a:gd name="connsiteX0" fmla="*/ 8078186 w 12192516"/>
              <a:gd name="connsiteY0" fmla="*/ 2966 h 6118032"/>
              <a:gd name="connsiteX1" fmla="*/ 8924186 w 12192516"/>
              <a:gd name="connsiteY1" fmla="*/ 1127665 h 6118032"/>
              <a:gd name="connsiteX2" fmla="*/ 12186019 w 12192516"/>
              <a:gd name="connsiteY2" fmla="*/ 1133408 h 6118032"/>
              <a:gd name="connsiteX3" fmla="*/ 12190606 w 12192516"/>
              <a:gd name="connsiteY3" fmla="*/ 5693807 h 6118032"/>
              <a:gd name="connsiteX4" fmla="*/ 9553940 w 12192516"/>
              <a:gd name="connsiteY4" fmla="*/ 6118032 h 6118032"/>
              <a:gd name="connsiteX5" fmla="*/ 8092920 w 12192516"/>
              <a:gd name="connsiteY5" fmla="*/ 4133233 h 6118032"/>
              <a:gd name="connsiteX6" fmla="*/ 3966 w 12192516"/>
              <a:gd name="connsiteY6" fmla="*/ 3694081 h 6118032"/>
              <a:gd name="connsiteX7" fmla="*/ 691 w 12192516"/>
              <a:gd name="connsiteY7" fmla="*/ 0 h 6118032"/>
              <a:gd name="connsiteX8" fmla="*/ 8078186 w 12192516"/>
              <a:gd name="connsiteY8" fmla="*/ 2966 h 6118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516" h="6118032">
                <a:moveTo>
                  <a:pt x="8078186" y="2966"/>
                </a:moveTo>
                <a:lnTo>
                  <a:pt x="8924186" y="1127665"/>
                </a:lnTo>
                <a:cubicBezTo>
                  <a:pt x="8918873" y="1127367"/>
                  <a:pt x="11100797" y="1133706"/>
                  <a:pt x="12186019" y="1133408"/>
                </a:cubicBezTo>
                <a:cubicBezTo>
                  <a:pt x="12187921" y="1115690"/>
                  <a:pt x="12196199" y="3972666"/>
                  <a:pt x="12190606" y="5693807"/>
                </a:cubicBezTo>
                <a:lnTo>
                  <a:pt x="9553940" y="6118032"/>
                </a:lnTo>
                <a:lnTo>
                  <a:pt x="8092920" y="4133233"/>
                </a:lnTo>
                <a:lnTo>
                  <a:pt x="3966" y="3694081"/>
                </a:lnTo>
                <a:cubicBezTo>
                  <a:pt x="7292" y="2548492"/>
                  <a:pt x="-2635" y="1145589"/>
                  <a:pt x="691" y="0"/>
                </a:cubicBezTo>
                <a:lnTo>
                  <a:pt x="8078186" y="2966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wrap="square" tIns="792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6A8997A4-270C-764B-A93E-26C9FD0699C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1687" y="5697252"/>
            <a:ext cx="5943237" cy="395574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buNone/>
              <a:defRPr sz="2400"/>
            </a:lvl1pPr>
          </a:lstStyle>
          <a:p>
            <a:r>
              <a:rPr lang="de-DE" sz="2400"/>
              <a:t>Subheadline</a:t>
            </a:r>
            <a:endParaRPr lang="de-DE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AB8322D9-2F70-A441-ACBA-8C47C6B4B74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85873" y="80628"/>
            <a:ext cx="2887568" cy="966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42372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681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Kapitel_unt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16">
            <a:extLst>
              <a:ext uri="{FF2B5EF4-FFF2-40B4-BE49-F238E27FC236}">
                <a16:creationId xmlns:a16="http://schemas.microsoft.com/office/drawing/2014/main" id="{8A4C0224-C3D2-DC45-91A2-344C4EFE7D8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334164" cy="6930374"/>
          </a:xfrm>
          <a:custGeom>
            <a:avLst/>
            <a:gdLst>
              <a:gd name="connsiteX0" fmla="*/ 0 w 12193588"/>
              <a:gd name="connsiteY0" fmla="*/ 0 h 6867728"/>
              <a:gd name="connsiteX1" fmla="*/ 11048944 w 12193588"/>
              <a:gd name="connsiteY1" fmla="*/ 0 h 6867728"/>
              <a:gd name="connsiteX2" fmla="*/ 12193588 w 12193588"/>
              <a:gd name="connsiteY2" fmla="*/ 1144644 h 6867728"/>
              <a:gd name="connsiteX3" fmla="*/ 12193588 w 12193588"/>
              <a:gd name="connsiteY3" fmla="*/ 6867728 h 6867728"/>
              <a:gd name="connsiteX4" fmla="*/ 0 w 12193588"/>
              <a:gd name="connsiteY4" fmla="*/ 6867728 h 6867728"/>
              <a:gd name="connsiteX5" fmla="*/ 0 w 12193588"/>
              <a:gd name="connsiteY5" fmla="*/ 0 h 6867728"/>
              <a:gd name="connsiteX0" fmla="*/ 0 w 12193588"/>
              <a:gd name="connsiteY0" fmla="*/ 1501629 h 6867728"/>
              <a:gd name="connsiteX1" fmla="*/ 11048944 w 12193588"/>
              <a:gd name="connsiteY1" fmla="*/ 0 h 6867728"/>
              <a:gd name="connsiteX2" fmla="*/ 12193588 w 12193588"/>
              <a:gd name="connsiteY2" fmla="*/ 1144644 h 6867728"/>
              <a:gd name="connsiteX3" fmla="*/ 12193588 w 12193588"/>
              <a:gd name="connsiteY3" fmla="*/ 6867728 h 6867728"/>
              <a:gd name="connsiteX4" fmla="*/ 0 w 12193588"/>
              <a:gd name="connsiteY4" fmla="*/ 6867728 h 6867728"/>
              <a:gd name="connsiteX5" fmla="*/ 0 w 12193588"/>
              <a:gd name="connsiteY5" fmla="*/ 1501629 h 6867728"/>
              <a:gd name="connsiteX0" fmla="*/ 0 w 12193588"/>
              <a:gd name="connsiteY0" fmla="*/ 360726 h 5726825"/>
              <a:gd name="connsiteX1" fmla="*/ 7450067 w 12193588"/>
              <a:gd name="connsiteY1" fmla="*/ 0 h 5726825"/>
              <a:gd name="connsiteX2" fmla="*/ 12193588 w 12193588"/>
              <a:gd name="connsiteY2" fmla="*/ 3741 h 5726825"/>
              <a:gd name="connsiteX3" fmla="*/ 12193588 w 12193588"/>
              <a:gd name="connsiteY3" fmla="*/ 5726825 h 5726825"/>
              <a:gd name="connsiteX4" fmla="*/ 0 w 12193588"/>
              <a:gd name="connsiteY4" fmla="*/ 5726825 h 5726825"/>
              <a:gd name="connsiteX5" fmla="*/ 0 w 12193588"/>
              <a:gd name="connsiteY5" fmla="*/ 360726 h 5726825"/>
              <a:gd name="connsiteX0" fmla="*/ 0 w 12193588"/>
              <a:gd name="connsiteY0" fmla="*/ 360726 h 5726825"/>
              <a:gd name="connsiteX1" fmla="*/ 7450067 w 12193588"/>
              <a:gd name="connsiteY1" fmla="*/ 0 h 5726825"/>
              <a:gd name="connsiteX2" fmla="*/ 10612073 w 12193588"/>
              <a:gd name="connsiteY2" fmla="*/ 7352 h 5726825"/>
              <a:gd name="connsiteX3" fmla="*/ 12193588 w 12193588"/>
              <a:gd name="connsiteY3" fmla="*/ 3741 h 5726825"/>
              <a:gd name="connsiteX4" fmla="*/ 12193588 w 12193588"/>
              <a:gd name="connsiteY4" fmla="*/ 5726825 h 5726825"/>
              <a:gd name="connsiteX5" fmla="*/ 0 w 12193588"/>
              <a:gd name="connsiteY5" fmla="*/ 5726825 h 5726825"/>
              <a:gd name="connsiteX6" fmla="*/ 0 w 12193588"/>
              <a:gd name="connsiteY6" fmla="*/ 360726 h 5726825"/>
              <a:gd name="connsiteX0" fmla="*/ 0 w 12193588"/>
              <a:gd name="connsiteY0" fmla="*/ 1519444 h 6885543"/>
              <a:gd name="connsiteX1" fmla="*/ 7450067 w 12193588"/>
              <a:gd name="connsiteY1" fmla="*/ 1158718 h 6885543"/>
              <a:gd name="connsiteX2" fmla="*/ 8036653 w 12193588"/>
              <a:gd name="connsiteY2" fmla="*/ 0 h 6885543"/>
              <a:gd name="connsiteX3" fmla="*/ 12193588 w 12193588"/>
              <a:gd name="connsiteY3" fmla="*/ 1162459 h 6885543"/>
              <a:gd name="connsiteX4" fmla="*/ 12193588 w 12193588"/>
              <a:gd name="connsiteY4" fmla="*/ 6885543 h 6885543"/>
              <a:gd name="connsiteX5" fmla="*/ 0 w 12193588"/>
              <a:gd name="connsiteY5" fmla="*/ 6885543 h 6885543"/>
              <a:gd name="connsiteX6" fmla="*/ 0 w 12193588"/>
              <a:gd name="connsiteY6" fmla="*/ 1519444 h 6885543"/>
              <a:gd name="connsiteX0" fmla="*/ 0 w 12201977"/>
              <a:gd name="connsiteY0" fmla="*/ 1519444 h 6885543"/>
              <a:gd name="connsiteX1" fmla="*/ 7450067 w 12201977"/>
              <a:gd name="connsiteY1" fmla="*/ 1158718 h 6885543"/>
              <a:gd name="connsiteX2" fmla="*/ 8036653 w 12201977"/>
              <a:gd name="connsiteY2" fmla="*/ 0 h 6885543"/>
              <a:gd name="connsiteX3" fmla="*/ 12201977 w 12201977"/>
              <a:gd name="connsiteY3" fmla="*/ 4778 h 6885543"/>
              <a:gd name="connsiteX4" fmla="*/ 12193588 w 12201977"/>
              <a:gd name="connsiteY4" fmla="*/ 6885543 h 6885543"/>
              <a:gd name="connsiteX5" fmla="*/ 0 w 12201977"/>
              <a:gd name="connsiteY5" fmla="*/ 6885543 h 6885543"/>
              <a:gd name="connsiteX6" fmla="*/ 0 w 12201977"/>
              <a:gd name="connsiteY6" fmla="*/ 1519444 h 6885543"/>
              <a:gd name="connsiteX0" fmla="*/ 0 w 12202784"/>
              <a:gd name="connsiteY0" fmla="*/ 1519444 h 6885543"/>
              <a:gd name="connsiteX1" fmla="*/ 7450067 w 12202784"/>
              <a:gd name="connsiteY1" fmla="*/ 1158718 h 6885543"/>
              <a:gd name="connsiteX2" fmla="*/ 8036653 w 12202784"/>
              <a:gd name="connsiteY2" fmla="*/ 0 h 6885543"/>
              <a:gd name="connsiteX3" fmla="*/ 12201977 w 12202784"/>
              <a:gd name="connsiteY3" fmla="*/ 4778 h 6885543"/>
              <a:gd name="connsiteX4" fmla="*/ 12201977 w 12202784"/>
              <a:gd name="connsiteY4" fmla="*/ 5895642 h 6885543"/>
              <a:gd name="connsiteX5" fmla="*/ 0 w 12202784"/>
              <a:gd name="connsiteY5" fmla="*/ 6885543 h 6885543"/>
              <a:gd name="connsiteX6" fmla="*/ 0 w 12202784"/>
              <a:gd name="connsiteY6" fmla="*/ 1519444 h 6885543"/>
              <a:gd name="connsiteX0" fmla="*/ 0 w 12202784"/>
              <a:gd name="connsiteY0" fmla="*/ 1519444 h 5895642"/>
              <a:gd name="connsiteX1" fmla="*/ 7450067 w 12202784"/>
              <a:gd name="connsiteY1" fmla="*/ 1158718 h 5895642"/>
              <a:gd name="connsiteX2" fmla="*/ 8036653 w 12202784"/>
              <a:gd name="connsiteY2" fmla="*/ 0 h 5895642"/>
              <a:gd name="connsiteX3" fmla="*/ 12201977 w 12202784"/>
              <a:gd name="connsiteY3" fmla="*/ 4778 h 5895642"/>
              <a:gd name="connsiteX4" fmla="*/ 12201977 w 12202784"/>
              <a:gd name="connsiteY4" fmla="*/ 5895642 h 5895642"/>
              <a:gd name="connsiteX5" fmla="*/ 0 w 12202784"/>
              <a:gd name="connsiteY5" fmla="*/ 5895642 h 5895642"/>
              <a:gd name="connsiteX6" fmla="*/ 0 w 12202784"/>
              <a:gd name="connsiteY6" fmla="*/ 1519444 h 5895642"/>
              <a:gd name="connsiteX0" fmla="*/ 0 w 12202784"/>
              <a:gd name="connsiteY0" fmla="*/ 1519444 h 5895642"/>
              <a:gd name="connsiteX1" fmla="*/ 7206786 w 12202784"/>
              <a:gd name="connsiteY1" fmla="*/ 1628501 h 5895642"/>
              <a:gd name="connsiteX2" fmla="*/ 8036653 w 12202784"/>
              <a:gd name="connsiteY2" fmla="*/ 0 h 5895642"/>
              <a:gd name="connsiteX3" fmla="*/ 12201977 w 12202784"/>
              <a:gd name="connsiteY3" fmla="*/ 4778 h 5895642"/>
              <a:gd name="connsiteX4" fmla="*/ 12201977 w 12202784"/>
              <a:gd name="connsiteY4" fmla="*/ 5895642 h 5895642"/>
              <a:gd name="connsiteX5" fmla="*/ 0 w 12202784"/>
              <a:gd name="connsiteY5" fmla="*/ 5895642 h 5895642"/>
              <a:gd name="connsiteX6" fmla="*/ 0 w 12202784"/>
              <a:gd name="connsiteY6" fmla="*/ 1519444 h 5895642"/>
              <a:gd name="connsiteX0" fmla="*/ 0 w 12202784"/>
              <a:gd name="connsiteY0" fmla="*/ 2123452 h 5895642"/>
              <a:gd name="connsiteX1" fmla="*/ 7206786 w 12202784"/>
              <a:gd name="connsiteY1" fmla="*/ 1628501 h 5895642"/>
              <a:gd name="connsiteX2" fmla="*/ 8036653 w 12202784"/>
              <a:gd name="connsiteY2" fmla="*/ 0 h 5895642"/>
              <a:gd name="connsiteX3" fmla="*/ 12201977 w 12202784"/>
              <a:gd name="connsiteY3" fmla="*/ 4778 h 5895642"/>
              <a:gd name="connsiteX4" fmla="*/ 12201977 w 12202784"/>
              <a:gd name="connsiteY4" fmla="*/ 5895642 h 5895642"/>
              <a:gd name="connsiteX5" fmla="*/ 0 w 12202784"/>
              <a:gd name="connsiteY5" fmla="*/ 5895642 h 5895642"/>
              <a:gd name="connsiteX6" fmla="*/ 0 w 12202784"/>
              <a:gd name="connsiteY6" fmla="*/ 2123452 h 5895642"/>
              <a:gd name="connsiteX0" fmla="*/ 0 w 12202784"/>
              <a:gd name="connsiteY0" fmla="*/ 2123452 h 5895642"/>
              <a:gd name="connsiteX1" fmla="*/ 7425447 w 12202784"/>
              <a:gd name="connsiteY1" fmla="*/ 2126329 h 5895642"/>
              <a:gd name="connsiteX2" fmla="*/ 8036653 w 12202784"/>
              <a:gd name="connsiteY2" fmla="*/ 0 h 5895642"/>
              <a:gd name="connsiteX3" fmla="*/ 12201977 w 12202784"/>
              <a:gd name="connsiteY3" fmla="*/ 4778 h 5895642"/>
              <a:gd name="connsiteX4" fmla="*/ 12201977 w 12202784"/>
              <a:gd name="connsiteY4" fmla="*/ 5895642 h 5895642"/>
              <a:gd name="connsiteX5" fmla="*/ 0 w 12202784"/>
              <a:gd name="connsiteY5" fmla="*/ 5895642 h 5895642"/>
              <a:gd name="connsiteX6" fmla="*/ 0 w 12202784"/>
              <a:gd name="connsiteY6" fmla="*/ 2123452 h 5895642"/>
              <a:gd name="connsiteX0" fmla="*/ 218661 w 12202784"/>
              <a:gd name="connsiteY0" fmla="*/ 2720845 h 5895642"/>
              <a:gd name="connsiteX1" fmla="*/ 7425447 w 12202784"/>
              <a:gd name="connsiteY1" fmla="*/ 2126329 h 5895642"/>
              <a:gd name="connsiteX2" fmla="*/ 8036653 w 12202784"/>
              <a:gd name="connsiteY2" fmla="*/ 0 h 5895642"/>
              <a:gd name="connsiteX3" fmla="*/ 12201977 w 12202784"/>
              <a:gd name="connsiteY3" fmla="*/ 4778 h 5895642"/>
              <a:gd name="connsiteX4" fmla="*/ 12201977 w 12202784"/>
              <a:gd name="connsiteY4" fmla="*/ 5895642 h 5895642"/>
              <a:gd name="connsiteX5" fmla="*/ 0 w 12202784"/>
              <a:gd name="connsiteY5" fmla="*/ 5895642 h 5895642"/>
              <a:gd name="connsiteX6" fmla="*/ 218661 w 12202784"/>
              <a:gd name="connsiteY6" fmla="*/ 2720845 h 5895642"/>
              <a:gd name="connsiteX0" fmla="*/ 0 w 12202784"/>
              <a:gd name="connsiteY0" fmla="*/ 2292713 h 5895642"/>
              <a:gd name="connsiteX1" fmla="*/ 7425447 w 12202784"/>
              <a:gd name="connsiteY1" fmla="*/ 2126329 h 5895642"/>
              <a:gd name="connsiteX2" fmla="*/ 8036653 w 12202784"/>
              <a:gd name="connsiteY2" fmla="*/ 0 h 5895642"/>
              <a:gd name="connsiteX3" fmla="*/ 12201977 w 12202784"/>
              <a:gd name="connsiteY3" fmla="*/ 4778 h 5895642"/>
              <a:gd name="connsiteX4" fmla="*/ 12201977 w 12202784"/>
              <a:gd name="connsiteY4" fmla="*/ 5895642 h 5895642"/>
              <a:gd name="connsiteX5" fmla="*/ 0 w 12202784"/>
              <a:gd name="connsiteY5" fmla="*/ 5895642 h 5895642"/>
              <a:gd name="connsiteX6" fmla="*/ 0 w 12202784"/>
              <a:gd name="connsiteY6" fmla="*/ 2292713 h 5895642"/>
              <a:gd name="connsiteX0" fmla="*/ 0 w 12202784"/>
              <a:gd name="connsiteY0" fmla="*/ 2292713 h 5895642"/>
              <a:gd name="connsiteX1" fmla="*/ 9522603 w 12202784"/>
              <a:gd name="connsiteY1" fmla="*/ 2395157 h 5895642"/>
              <a:gd name="connsiteX2" fmla="*/ 8036653 w 12202784"/>
              <a:gd name="connsiteY2" fmla="*/ 0 h 5895642"/>
              <a:gd name="connsiteX3" fmla="*/ 12201977 w 12202784"/>
              <a:gd name="connsiteY3" fmla="*/ 4778 h 5895642"/>
              <a:gd name="connsiteX4" fmla="*/ 12201977 w 12202784"/>
              <a:gd name="connsiteY4" fmla="*/ 5895642 h 5895642"/>
              <a:gd name="connsiteX5" fmla="*/ 0 w 12202784"/>
              <a:gd name="connsiteY5" fmla="*/ 5895642 h 5895642"/>
              <a:gd name="connsiteX6" fmla="*/ 0 w 12202784"/>
              <a:gd name="connsiteY6" fmla="*/ 2292713 h 5895642"/>
              <a:gd name="connsiteX0" fmla="*/ 0 w 12202784"/>
              <a:gd name="connsiteY0" fmla="*/ 2292713 h 5895642"/>
              <a:gd name="connsiteX1" fmla="*/ 7296237 w 12202784"/>
              <a:gd name="connsiteY1" fmla="*/ 1728066 h 5895642"/>
              <a:gd name="connsiteX2" fmla="*/ 8036653 w 12202784"/>
              <a:gd name="connsiteY2" fmla="*/ 0 h 5895642"/>
              <a:gd name="connsiteX3" fmla="*/ 12201977 w 12202784"/>
              <a:gd name="connsiteY3" fmla="*/ 4778 h 5895642"/>
              <a:gd name="connsiteX4" fmla="*/ 12201977 w 12202784"/>
              <a:gd name="connsiteY4" fmla="*/ 5895642 h 5895642"/>
              <a:gd name="connsiteX5" fmla="*/ 0 w 12202784"/>
              <a:gd name="connsiteY5" fmla="*/ 5895642 h 5895642"/>
              <a:gd name="connsiteX6" fmla="*/ 0 w 12202784"/>
              <a:gd name="connsiteY6" fmla="*/ 2292713 h 5895642"/>
              <a:gd name="connsiteX0" fmla="*/ 0 w 12202784"/>
              <a:gd name="connsiteY0" fmla="*/ 2292713 h 5895642"/>
              <a:gd name="connsiteX1" fmla="*/ 7306177 w 12202784"/>
              <a:gd name="connsiteY1" fmla="*/ 1140629 h 5895642"/>
              <a:gd name="connsiteX2" fmla="*/ 8036653 w 12202784"/>
              <a:gd name="connsiteY2" fmla="*/ 0 h 5895642"/>
              <a:gd name="connsiteX3" fmla="*/ 12201977 w 12202784"/>
              <a:gd name="connsiteY3" fmla="*/ 4778 h 5895642"/>
              <a:gd name="connsiteX4" fmla="*/ 12201977 w 12202784"/>
              <a:gd name="connsiteY4" fmla="*/ 5895642 h 5895642"/>
              <a:gd name="connsiteX5" fmla="*/ 0 w 12202784"/>
              <a:gd name="connsiteY5" fmla="*/ 5895642 h 5895642"/>
              <a:gd name="connsiteX6" fmla="*/ 0 w 12202784"/>
              <a:gd name="connsiteY6" fmla="*/ 2292713 h 5895642"/>
              <a:gd name="connsiteX0" fmla="*/ 0 w 12202784"/>
              <a:gd name="connsiteY0" fmla="*/ 1774971 h 5895642"/>
              <a:gd name="connsiteX1" fmla="*/ 7306177 w 12202784"/>
              <a:gd name="connsiteY1" fmla="*/ 1140629 h 5895642"/>
              <a:gd name="connsiteX2" fmla="*/ 8036653 w 12202784"/>
              <a:gd name="connsiteY2" fmla="*/ 0 h 5895642"/>
              <a:gd name="connsiteX3" fmla="*/ 12201977 w 12202784"/>
              <a:gd name="connsiteY3" fmla="*/ 4778 h 5895642"/>
              <a:gd name="connsiteX4" fmla="*/ 12201977 w 12202784"/>
              <a:gd name="connsiteY4" fmla="*/ 5895642 h 5895642"/>
              <a:gd name="connsiteX5" fmla="*/ 0 w 12202784"/>
              <a:gd name="connsiteY5" fmla="*/ 5895642 h 5895642"/>
              <a:gd name="connsiteX6" fmla="*/ 0 w 12202784"/>
              <a:gd name="connsiteY6" fmla="*/ 1774971 h 5895642"/>
              <a:gd name="connsiteX0" fmla="*/ 0 w 12202784"/>
              <a:gd name="connsiteY0" fmla="*/ 1774971 h 5895642"/>
              <a:gd name="connsiteX1" fmla="*/ 7276360 w 12202784"/>
              <a:gd name="connsiteY1" fmla="*/ 1708154 h 5895642"/>
              <a:gd name="connsiteX2" fmla="*/ 8036653 w 12202784"/>
              <a:gd name="connsiteY2" fmla="*/ 0 h 5895642"/>
              <a:gd name="connsiteX3" fmla="*/ 12201977 w 12202784"/>
              <a:gd name="connsiteY3" fmla="*/ 4778 h 5895642"/>
              <a:gd name="connsiteX4" fmla="*/ 12201977 w 12202784"/>
              <a:gd name="connsiteY4" fmla="*/ 5895642 h 5895642"/>
              <a:gd name="connsiteX5" fmla="*/ 0 w 12202784"/>
              <a:gd name="connsiteY5" fmla="*/ 5895642 h 5895642"/>
              <a:gd name="connsiteX6" fmla="*/ 0 w 12202784"/>
              <a:gd name="connsiteY6" fmla="*/ 1774971 h 5895642"/>
              <a:gd name="connsiteX0" fmla="*/ 0 w 12202784"/>
              <a:gd name="connsiteY0" fmla="*/ 1774971 h 5895642"/>
              <a:gd name="connsiteX1" fmla="*/ 6988125 w 12202784"/>
              <a:gd name="connsiteY1" fmla="*/ 1548849 h 5895642"/>
              <a:gd name="connsiteX2" fmla="*/ 8036653 w 12202784"/>
              <a:gd name="connsiteY2" fmla="*/ 0 h 5895642"/>
              <a:gd name="connsiteX3" fmla="*/ 12201977 w 12202784"/>
              <a:gd name="connsiteY3" fmla="*/ 4778 h 5895642"/>
              <a:gd name="connsiteX4" fmla="*/ 12201977 w 12202784"/>
              <a:gd name="connsiteY4" fmla="*/ 5895642 h 5895642"/>
              <a:gd name="connsiteX5" fmla="*/ 0 w 12202784"/>
              <a:gd name="connsiteY5" fmla="*/ 5895642 h 5895642"/>
              <a:gd name="connsiteX6" fmla="*/ 0 w 12202784"/>
              <a:gd name="connsiteY6" fmla="*/ 1774971 h 5895642"/>
              <a:gd name="connsiteX0" fmla="*/ 278296 w 12202784"/>
              <a:gd name="connsiteY0" fmla="*/ 2491845 h 5895642"/>
              <a:gd name="connsiteX1" fmla="*/ 6988125 w 12202784"/>
              <a:gd name="connsiteY1" fmla="*/ 1548849 h 5895642"/>
              <a:gd name="connsiteX2" fmla="*/ 8036653 w 12202784"/>
              <a:gd name="connsiteY2" fmla="*/ 0 h 5895642"/>
              <a:gd name="connsiteX3" fmla="*/ 12201977 w 12202784"/>
              <a:gd name="connsiteY3" fmla="*/ 4778 h 5895642"/>
              <a:gd name="connsiteX4" fmla="*/ 12201977 w 12202784"/>
              <a:gd name="connsiteY4" fmla="*/ 5895642 h 5895642"/>
              <a:gd name="connsiteX5" fmla="*/ 0 w 12202784"/>
              <a:gd name="connsiteY5" fmla="*/ 5895642 h 5895642"/>
              <a:gd name="connsiteX6" fmla="*/ 278296 w 12202784"/>
              <a:gd name="connsiteY6" fmla="*/ 2491845 h 5895642"/>
              <a:gd name="connsiteX0" fmla="*/ 0 w 12202784"/>
              <a:gd name="connsiteY0" fmla="*/ 2282757 h 5895642"/>
              <a:gd name="connsiteX1" fmla="*/ 6988125 w 12202784"/>
              <a:gd name="connsiteY1" fmla="*/ 1548849 h 5895642"/>
              <a:gd name="connsiteX2" fmla="*/ 8036653 w 12202784"/>
              <a:gd name="connsiteY2" fmla="*/ 0 h 5895642"/>
              <a:gd name="connsiteX3" fmla="*/ 12201977 w 12202784"/>
              <a:gd name="connsiteY3" fmla="*/ 4778 h 5895642"/>
              <a:gd name="connsiteX4" fmla="*/ 12201977 w 12202784"/>
              <a:gd name="connsiteY4" fmla="*/ 5895642 h 5895642"/>
              <a:gd name="connsiteX5" fmla="*/ 0 w 12202784"/>
              <a:gd name="connsiteY5" fmla="*/ 5895642 h 5895642"/>
              <a:gd name="connsiteX6" fmla="*/ 0 w 12202784"/>
              <a:gd name="connsiteY6" fmla="*/ 2282757 h 5895642"/>
              <a:gd name="connsiteX0" fmla="*/ 0 w 12202784"/>
              <a:gd name="connsiteY0" fmla="*/ 2282757 h 6113306"/>
              <a:gd name="connsiteX1" fmla="*/ 6988125 w 12202784"/>
              <a:gd name="connsiteY1" fmla="*/ 1548849 h 6113306"/>
              <a:gd name="connsiteX2" fmla="*/ 8036653 w 12202784"/>
              <a:gd name="connsiteY2" fmla="*/ 0 h 6113306"/>
              <a:gd name="connsiteX3" fmla="*/ 12201977 w 12202784"/>
              <a:gd name="connsiteY3" fmla="*/ 4778 h 6113306"/>
              <a:gd name="connsiteX4" fmla="*/ 12201977 w 12202784"/>
              <a:gd name="connsiteY4" fmla="*/ 6113306 h 6113306"/>
              <a:gd name="connsiteX5" fmla="*/ 0 w 12202784"/>
              <a:gd name="connsiteY5" fmla="*/ 5895642 h 6113306"/>
              <a:gd name="connsiteX6" fmla="*/ 0 w 12202784"/>
              <a:gd name="connsiteY6" fmla="*/ 2282757 h 6113306"/>
              <a:gd name="connsiteX0" fmla="*/ 0 w 12202784"/>
              <a:gd name="connsiteY0" fmla="*/ 2282757 h 6113307"/>
              <a:gd name="connsiteX1" fmla="*/ 6988125 w 12202784"/>
              <a:gd name="connsiteY1" fmla="*/ 1548849 h 6113307"/>
              <a:gd name="connsiteX2" fmla="*/ 8036653 w 12202784"/>
              <a:gd name="connsiteY2" fmla="*/ 0 h 6113307"/>
              <a:gd name="connsiteX3" fmla="*/ 12201977 w 12202784"/>
              <a:gd name="connsiteY3" fmla="*/ 4778 h 6113307"/>
              <a:gd name="connsiteX4" fmla="*/ 12201977 w 12202784"/>
              <a:gd name="connsiteY4" fmla="*/ 6113306 h 6113307"/>
              <a:gd name="connsiteX5" fmla="*/ 18107 w 12202784"/>
              <a:gd name="connsiteY5" fmla="*/ 6113307 h 6113307"/>
              <a:gd name="connsiteX6" fmla="*/ 0 w 12202784"/>
              <a:gd name="connsiteY6" fmla="*/ 2282757 h 6113307"/>
              <a:gd name="connsiteX0" fmla="*/ 0 w 12202784"/>
              <a:gd name="connsiteY0" fmla="*/ 2282757 h 6113307"/>
              <a:gd name="connsiteX1" fmla="*/ 6988125 w 12202784"/>
              <a:gd name="connsiteY1" fmla="*/ 1548849 h 6113307"/>
              <a:gd name="connsiteX2" fmla="*/ 8036653 w 12202784"/>
              <a:gd name="connsiteY2" fmla="*/ 0 h 6113307"/>
              <a:gd name="connsiteX3" fmla="*/ 12201977 w 12202784"/>
              <a:gd name="connsiteY3" fmla="*/ 4778 h 6113307"/>
              <a:gd name="connsiteX4" fmla="*/ 12201977 w 12202784"/>
              <a:gd name="connsiteY4" fmla="*/ 6113306 h 6113307"/>
              <a:gd name="connsiteX5" fmla="*/ 18107 w 12202784"/>
              <a:gd name="connsiteY5" fmla="*/ 6113307 h 6113307"/>
              <a:gd name="connsiteX6" fmla="*/ 0 w 12202784"/>
              <a:gd name="connsiteY6" fmla="*/ 2282757 h 6113307"/>
              <a:gd name="connsiteX0" fmla="*/ 0 w 12201977"/>
              <a:gd name="connsiteY0" fmla="*/ 2282757 h 6113307"/>
              <a:gd name="connsiteX1" fmla="*/ 6988125 w 12201977"/>
              <a:gd name="connsiteY1" fmla="*/ 1548849 h 6113307"/>
              <a:gd name="connsiteX2" fmla="*/ 8036653 w 12201977"/>
              <a:gd name="connsiteY2" fmla="*/ 0 h 6113307"/>
              <a:gd name="connsiteX3" fmla="*/ 12201977 w 12201977"/>
              <a:gd name="connsiteY3" fmla="*/ 4778 h 6113307"/>
              <a:gd name="connsiteX4" fmla="*/ 12201977 w 12201977"/>
              <a:gd name="connsiteY4" fmla="*/ 6113306 h 6113307"/>
              <a:gd name="connsiteX5" fmla="*/ 18107 w 12201977"/>
              <a:gd name="connsiteY5" fmla="*/ 6113307 h 6113307"/>
              <a:gd name="connsiteX6" fmla="*/ 0 w 12201977"/>
              <a:gd name="connsiteY6" fmla="*/ 2282757 h 6113307"/>
              <a:gd name="connsiteX0" fmla="*/ 4279 w 12206256"/>
              <a:gd name="connsiteY0" fmla="*/ 2282757 h 6113307"/>
              <a:gd name="connsiteX1" fmla="*/ 6992404 w 12206256"/>
              <a:gd name="connsiteY1" fmla="*/ 1548849 h 6113307"/>
              <a:gd name="connsiteX2" fmla="*/ 8040932 w 12206256"/>
              <a:gd name="connsiteY2" fmla="*/ 0 h 6113307"/>
              <a:gd name="connsiteX3" fmla="*/ 12206256 w 12206256"/>
              <a:gd name="connsiteY3" fmla="*/ 4778 h 6113307"/>
              <a:gd name="connsiteX4" fmla="*/ 12206256 w 12206256"/>
              <a:gd name="connsiteY4" fmla="*/ 6113306 h 6113307"/>
              <a:gd name="connsiteX5" fmla="*/ 2764 w 12206256"/>
              <a:gd name="connsiteY5" fmla="*/ 6113307 h 6113307"/>
              <a:gd name="connsiteX6" fmla="*/ 4279 w 12206256"/>
              <a:gd name="connsiteY6" fmla="*/ 2282757 h 6113307"/>
              <a:gd name="connsiteX0" fmla="*/ 14898 w 12216875"/>
              <a:gd name="connsiteY0" fmla="*/ 2282757 h 6878577"/>
              <a:gd name="connsiteX1" fmla="*/ 7003023 w 12216875"/>
              <a:gd name="connsiteY1" fmla="*/ 1548849 h 6878577"/>
              <a:gd name="connsiteX2" fmla="*/ 8051551 w 12216875"/>
              <a:gd name="connsiteY2" fmla="*/ 0 h 6878577"/>
              <a:gd name="connsiteX3" fmla="*/ 12216875 w 12216875"/>
              <a:gd name="connsiteY3" fmla="*/ 4778 h 6878577"/>
              <a:gd name="connsiteX4" fmla="*/ 12216875 w 12216875"/>
              <a:gd name="connsiteY4" fmla="*/ 6113306 h 6878577"/>
              <a:gd name="connsiteX5" fmla="*/ 1809 w 12216875"/>
              <a:gd name="connsiteY5" fmla="*/ 6878577 h 6878577"/>
              <a:gd name="connsiteX6" fmla="*/ 14898 w 12216875"/>
              <a:gd name="connsiteY6" fmla="*/ 2282757 h 6878577"/>
              <a:gd name="connsiteX0" fmla="*/ 14898 w 12216875"/>
              <a:gd name="connsiteY0" fmla="*/ 2282757 h 6878577"/>
              <a:gd name="connsiteX1" fmla="*/ 7003023 w 12216875"/>
              <a:gd name="connsiteY1" fmla="*/ 1548849 h 6878577"/>
              <a:gd name="connsiteX2" fmla="*/ 8051551 w 12216875"/>
              <a:gd name="connsiteY2" fmla="*/ 0 h 6878577"/>
              <a:gd name="connsiteX3" fmla="*/ 12216875 w 12216875"/>
              <a:gd name="connsiteY3" fmla="*/ 4778 h 6878577"/>
              <a:gd name="connsiteX4" fmla="*/ 12205300 w 12216875"/>
              <a:gd name="connsiteY4" fmla="*/ 6878576 h 6878577"/>
              <a:gd name="connsiteX5" fmla="*/ 1809 w 12216875"/>
              <a:gd name="connsiteY5" fmla="*/ 6878577 h 6878577"/>
              <a:gd name="connsiteX6" fmla="*/ 14898 w 12216875"/>
              <a:gd name="connsiteY6" fmla="*/ 2282757 h 6878577"/>
              <a:gd name="connsiteX0" fmla="*/ 14898 w 12216875"/>
              <a:gd name="connsiteY0" fmla="*/ 2282757 h 6878577"/>
              <a:gd name="connsiteX1" fmla="*/ 7003023 w 12216875"/>
              <a:gd name="connsiteY1" fmla="*/ 1548849 h 6878577"/>
              <a:gd name="connsiteX2" fmla="*/ 8051551 w 12216875"/>
              <a:gd name="connsiteY2" fmla="*/ 0 h 6878577"/>
              <a:gd name="connsiteX3" fmla="*/ 12216875 w 12216875"/>
              <a:gd name="connsiteY3" fmla="*/ 4778 h 6878577"/>
              <a:gd name="connsiteX4" fmla="*/ 12205300 w 12216875"/>
              <a:gd name="connsiteY4" fmla="*/ 6878576 h 6878577"/>
              <a:gd name="connsiteX5" fmla="*/ 1809 w 12216875"/>
              <a:gd name="connsiteY5" fmla="*/ 6878577 h 6878577"/>
              <a:gd name="connsiteX6" fmla="*/ 14898 w 12216875"/>
              <a:gd name="connsiteY6" fmla="*/ 2282757 h 6878577"/>
              <a:gd name="connsiteX0" fmla="*/ 13089 w 12215066"/>
              <a:gd name="connsiteY0" fmla="*/ 2282757 h 6878577"/>
              <a:gd name="connsiteX1" fmla="*/ 7001214 w 12215066"/>
              <a:gd name="connsiteY1" fmla="*/ 1548849 h 6878577"/>
              <a:gd name="connsiteX2" fmla="*/ 8049742 w 12215066"/>
              <a:gd name="connsiteY2" fmla="*/ 0 h 6878577"/>
              <a:gd name="connsiteX3" fmla="*/ 12215066 w 12215066"/>
              <a:gd name="connsiteY3" fmla="*/ 4778 h 6878577"/>
              <a:gd name="connsiteX4" fmla="*/ 12203491 w 12215066"/>
              <a:gd name="connsiteY4" fmla="*/ 6878576 h 6878577"/>
              <a:gd name="connsiteX5" fmla="*/ 0 w 12215066"/>
              <a:gd name="connsiteY5" fmla="*/ 6878577 h 6878577"/>
              <a:gd name="connsiteX6" fmla="*/ 13089 w 12215066"/>
              <a:gd name="connsiteY6" fmla="*/ 2282757 h 6878577"/>
              <a:gd name="connsiteX0" fmla="*/ 13089 w 12215066"/>
              <a:gd name="connsiteY0" fmla="*/ 2277979 h 6873799"/>
              <a:gd name="connsiteX1" fmla="*/ 7001214 w 12215066"/>
              <a:gd name="connsiteY1" fmla="*/ 1544071 h 6873799"/>
              <a:gd name="connsiteX2" fmla="*/ 3022 w 12215066"/>
              <a:gd name="connsiteY2" fmla="*/ 10489 h 6873799"/>
              <a:gd name="connsiteX3" fmla="*/ 12215066 w 12215066"/>
              <a:gd name="connsiteY3" fmla="*/ 0 h 6873799"/>
              <a:gd name="connsiteX4" fmla="*/ 12203491 w 12215066"/>
              <a:gd name="connsiteY4" fmla="*/ 6873798 h 6873799"/>
              <a:gd name="connsiteX5" fmla="*/ 0 w 12215066"/>
              <a:gd name="connsiteY5" fmla="*/ 6873799 h 6873799"/>
              <a:gd name="connsiteX6" fmla="*/ 13089 w 12215066"/>
              <a:gd name="connsiteY6" fmla="*/ 2277979 h 6873799"/>
              <a:gd name="connsiteX0" fmla="*/ 10067 w 12212044"/>
              <a:gd name="connsiteY0" fmla="*/ 2277979 h 6873798"/>
              <a:gd name="connsiteX1" fmla="*/ 6998192 w 12212044"/>
              <a:gd name="connsiteY1" fmla="*/ 1544071 h 6873798"/>
              <a:gd name="connsiteX2" fmla="*/ 0 w 12212044"/>
              <a:gd name="connsiteY2" fmla="*/ 10489 h 6873798"/>
              <a:gd name="connsiteX3" fmla="*/ 12212044 w 12212044"/>
              <a:gd name="connsiteY3" fmla="*/ 0 h 6873798"/>
              <a:gd name="connsiteX4" fmla="*/ 12200469 w 12212044"/>
              <a:gd name="connsiteY4" fmla="*/ 6873798 h 6873798"/>
              <a:gd name="connsiteX5" fmla="*/ 7738898 w 12212044"/>
              <a:gd name="connsiteY5" fmla="*/ 6858532 h 6873798"/>
              <a:gd name="connsiteX6" fmla="*/ 10067 w 12212044"/>
              <a:gd name="connsiteY6" fmla="*/ 2277979 h 6873798"/>
              <a:gd name="connsiteX0" fmla="*/ 6913787 w 12212044"/>
              <a:gd name="connsiteY0" fmla="*/ 5102327 h 6873798"/>
              <a:gd name="connsiteX1" fmla="*/ 6998192 w 12212044"/>
              <a:gd name="connsiteY1" fmla="*/ 1544071 h 6873798"/>
              <a:gd name="connsiteX2" fmla="*/ 0 w 12212044"/>
              <a:gd name="connsiteY2" fmla="*/ 10489 h 6873798"/>
              <a:gd name="connsiteX3" fmla="*/ 12212044 w 12212044"/>
              <a:gd name="connsiteY3" fmla="*/ 0 h 6873798"/>
              <a:gd name="connsiteX4" fmla="*/ 12200469 w 12212044"/>
              <a:gd name="connsiteY4" fmla="*/ 6873798 h 6873798"/>
              <a:gd name="connsiteX5" fmla="*/ 7738898 w 12212044"/>
              <a:gd name="connsiteY5" fmla="*/ 6858532 h 6873798"/>
              <a:gd name="connsiteX6" fmla="*/ 6913787 w 12212044"/>
              <a:gd name="connsiteY6" fmla="*/ 5102327 h 6873798"/>
              <a:gd name="connsiteX0" fmla="*/ 6913787 w 12212044"/>
              <a:gd name="connsiteY0" fmla="*/ 5102327 h 6873798"/>
              <a:gd name="connsiteX1" fmla="*/ 6998192 w 12212044"/>
              <a:gd name="connsiteY1" fmla="*/ 1544071 h 6873798"/>
              <a:gd name="connsiteX2" fmla="*/ 0 w 12212044"/>
              <a:gd name="connsiteY2" fmla="*/ 10489 h 6873798"/>
              <a:gd name="connsiteX3" fmla="*/ 12212044 w 12212044"/>
              <a:gd name="connsiteY3" fmla="*/ 0 h 6873798"/>
              <a:gd name="connsiteX4" fmla="*/ 12200469 w 12212044"/>
              <a:gd name="connsiteY4" fmla="*/ 6873798 h 6873798"/>
              <a:gd name="connsiteX5" fmla="*/ 7738898 w 12212044"/>
              <a:gd name="connsiteY5" fmla="*/ 6858532 h 6873798"/>
              <a:gd name="connsiteX6" fmla="*/ 6913787 w 12212044"/>
              <a:gd name="connsiteY6" fmla="*/ 5102327 h 6873798"/>
              <a:gd name="connsiteX0" fmla="*/ 6913787 w 12212044"/>
              <a:gd name="connsiteY0" fmla="*/ 5102327 h 6873798"/>
              <a:gd name="connsiteX1" fmla="*/ 6998192 w 12212044"/>
              <a:gd name="connsiteY1" fmla="*/ 1544071 h 6873798"/>
              <a:gd name="connsiteX2" fmla="*/ 0 w 12212044"/>
              <a:gd name="connsiteY2" fmla="*/ 10489 h 6873798"/>
              <a:gd name="connsiteX3" fmla="*/ 12212044 w 12212044"/>
              <a:gd name="connsiteY3" fmla="*/ 0 h 6873798"/>
              <a:gd name="connsiteX4" fmla="*/ 12200469 w 12212044"/>
              <a:gd name="connsiteY4" fmla="*/ 6873798 h 6873798"/>
              <a:gd name="connsiteX5" fmla="*/ 7738898 w 12212044"/>
              <a:gd name="connsiteY5" fmla="*/ 6858532 h 6873798"/>
              <a:gd name="connsiteX6" fmla="*/ 6913787 w 12212044"/>
              <a:gd name="connsiteY6" fmla="*/ 5102327 h 6873798"/>
              <a:gd name="connsiteX0" fmla="*/ 6913787 w 12212044"/>
              <a:gd name="connsiteY0" fmla="*/ 5102327 h 6873798"/>
              <a:gd name="connsiteX1" fmla="*/ 18272 w 12212044"/>
              <a:gd name="connsiteY1" fmla="*/ 4505820 h 6873798"/>
              <a:gd name="connsiteX2" fmla="*/ 0 w 12212044"/>
              <a:gd name="connsiteY2" fmla="*/ 10489 h 6873798"/>
              <a:gd name="connsiteX3" fmla="*/ 12212044 w 12212044"/>
              <a:gd name="connsiteY3" fmla="*/ 0 h 6873798"/>
              <a:gd name="connsiteX4" fmla="*/ 12200469 w 12212044"/>
              <a:gd name="connsiteY4" fmla="*/ 6873798 h 6873798"/>
              <a:gd name="connsiteX5" fmla="*/ 7738898 w 12212044"/>
              <a:gd name="connsiteY5" fmla="*/ 6858532 h 6873798"/>
              <a:gd name="connsiteX6" fmla="*/ 6913787 w 12212044"/>
              <a:gd name="connsiteY6" fmla="*/ 5102327 h 68737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212044" h="6873798">
                <a:moveTo>
                  <a:pt x="6913787" y="5102327"/>
                </a:moveTo>
                <a:lnTo>
                  <a:pt x="18272" y="4505820"/>
                </a:lnTo>
                <a:cubicBezTo>
                  <a:pt x="12181" y="3007376"/>
                  <a:pt x="6091" y="1508933"/>
                  <a:pt x="0" y="10489"/>
                </a:cubicBezTo>
                <a:lnTo>
                  <a:pt x="12212044" y="0"/>
                </a:lnTo>
                <a:cubicBezTo>
                  <a:pt x="12209248" y="2293588"/>
                  <a:pt x="12206256" y="3436899"/>
                  <a:pt x="12200469" y="6873798"/>
                </a:cubicBezTo>
                <a:lnTo>
                  <a:pt x="7738898" y="6858532"/>
                </a:lnTo>
                <a:lnTo>
                  <a:pt x="6913787" y="5102327"/>
                </a:lnTo>
                <a:close/>
              </a:path>
            </a:pathLst>
          </a:custGeom>
          <a:solidFill>
            <a:schemeClr val="bg2"/>
          </a:solid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880BFE37-58E9-495E-A195-6B3E849402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5580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880BFE37-58E9-495E-A195-6B3E849402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9174A79C-E86A-EB40-8610-9B4AD98526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4500" y="5400314"/>
            <a:ext cx="6480386" cy="68341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016458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-Text-Bild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F40736A5-4183-4914-9152-7CE13465F1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9603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F40736A5-4183-4914-9152-7CE13465F1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13" name="Bildplatzhalter 11">
            <a:extLst>
              <a:ext uri="{FF2B5EF4-FFF2-40B4-BE49-F238E27FC236}">
                <a16:creationId xmlns:a16="http://schemas.microsoft.com/office/drawing/2014/main" id="{2A285668-9F5C-D749-AEF9-8CA7E4CD8AC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421629" y="1520825"/>
            <a:ext cx="2374918" cy="4572000"/>
          </a:xfrm>
          <a:prstGeom prst="rect">
            <a:avLst/>
          </a:prstGeo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1" name="Textplatzhalter 17">
            <a:extLst>
              <a:ext uri="{FF2B5EF4-FFF2-40B4-BE49-F238E27FC236}">
                <a16:creationId xmlns:a16="http://schemas.microsoft.com/office/drawing/2014/main" id="{237DA572-D940-3242-B653-19BB4EC6DF0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4500" y="1522413"/>
            <a:ext cx="8676630" cy="4570412"/>
          </a:xfrm>
          <a:prstGeom prst="rect">
            <a:avLst/>
          </a:prstGeom>
        </p:spPr>
        <p:txBody>
          <a:bodyPr/>
          <a:lstStyle>
            <a:lvl1pPr marL="342900" indent="-342900">
              <a:buFont typeface="Wingdings" panose="05000000000000000000" pitchFamily="2" charset="2"/>
              <a:buChar char="§"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E75ADCA-98A4-9044-8214-BA614D8E4C0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56771710-F849-466B-A8B7-68F9CDA57DB0}" type="datetime1">
              <a:rPr lang="de-DE" smtClean="0"/>
              <a:t>05.08.2020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23D82F-75D2-2C4A-A347-64230B7F3D1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© TecAlliance GmbH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6D253A0-551D-2840-9710-B8E6A160079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E82B8A1-0CCE-4815-9668-383D7DE7D8B4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334845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-Text-Bild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F40736A5-4183-4914-9152-7CE13465F1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0627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F40736A5-4183-4914-9152-7CE13465F1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11" name="Bildplatzhalter 11">
            <a:extLst>
              <a:ext uri="{FF2B5EF4-FFF2-40B4-BE49-F238E27FC236}">
                <a16:creationId xmlns:a16="http://schemas.microsoft.com/office/drawing/2014/main" id="{11EF4FA8-E1E1-E64E-9043-5458F03868D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378394" y="1535722"/>
            <a:ext cx="5407032" cy="4557103"/>
          </a:xfrm>
          <a:prstGeom prst="rect">
            <a:avLst/>
          </a:prstGeo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2" name="Textplatzhalter 17">
            <a:extLst>
              <a:ext uri="{FF2B5EF4-FFF2-40B4-BE49-F238E27FC236}">
                <a16:creationId xmlns:a16="http://schemas.microsoft.com/office/drawing/2014/main" id="{6454EF1E-C9A0-1847-8581-C062E736519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4500" y="1522413"/>
            <a:ext cx="5364163" cy="4570412"/>
          </a:xfrm>
          <a:prstGeom prst="rect">
            <a:avLst/>
          </a:prstGeom>
        </p:spPr>
        <p:txBody>
          <a:bodyPr/>
          <a:lstStyle>
            <a:lvl1pPr marL="342900" indent="-342900">
              <a:buFont typeface="Wingdings" panose="05000000000000000000" pitchFamily="2" charset="2"/>
              <a:buChar char="§"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6BDA9DC-9545-DE4C-BC2D-683EA004E8E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699971D-1BA6-4715-B779-222097A7BC1D}" type="datetime1">
              <a:rPr lang="de-DE" smtClean="0"/>
              <a:t>05.08.2020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CF6D8D8-5A23-C544-9A55-8864EC9A254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© TecAlliance GmbH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F85CA39-6E94-814B-8A82-F73C23BA681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E82B8A1-0CCE-4815-9668-383D7DE7D8B4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724184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-Text-Bild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F40736A5-4183-4914-9152-7CE13465F1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1651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F40736A5-4183-4914-9152-7CE13465F1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13" name="Bildplatzhalter 11">
            <a:extLst>
              <a:ext uri="{FF2B5EF4-FFF2-40B4-BE49-F238E27FC236}">
                <a16:creationId xmlns:a16="http://schemas.microsoft.com/office/drawing/2014/main" id="{6C8C6754-84F1-D14E-A55C-4381BE73CFE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167253" y="1520825"/>
            <a:ext cx="8618173" cy="4572000"/>
          </a:xfrm>
          <a:prstGeom prst="rect">
            <a:avLst/>
          </a:prstGeo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4" name="Textplatzhalter 17">
            <a:extLst>
              <a:ext uri="{FF2B5EF4-FFF2-40B4-BE49-F238E27FC236}">
                <a16:creationId xmlns:a16="http://schemas.microsoft.com/office/drawing/2014/main" id="{3472C6F9-8DFC-044F-B04A-3AED4B95416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4500" y="1522413"/>
            <a:ext cx="2375946" cy="4570412"/>
          </a:xfrm>
          <a:prstGeom prst="rect">
            <a:avLst/>
          </a:prstGeom>
        </p:spPr>
        <p:txBody>
          <a:bodyPr/>
          <a:lstStyle>
            <a:lvl1pPr marL="342900" indent="-342900">
              <a:buFont typeface="Wingdings" panose="05000000000000000000" pitchFamily="2" charset="2"/>
              <a:buChar char="§"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7D6CF8C-8FD0-7548-9EDA-AA907DC2E36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C525EB75-29E6-45F6-BC01-E9AD05F59AC0}" type="datetime1">
              <a:rPr lang="de-DE" smtClean="0"/>
              <a:t>05.08.2020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3A9F708-0AD0-9348-A3D5-3F9FFBBA807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© TecAlliance GmbH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E0BF3AE-93E8-E743-877E-366514BE53E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E82B8A1-0CCE-4815-9668-383D7DE7D8B4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473029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-Text-Bild_schraeg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F40736A5-4183-4914-9152-7CE13465F1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8252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F40736A5-4183-4914-9152-7CE13465F1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11" name="Bildplatzhalter 11">
            <a:extLst>
              <a:ext uri="{FF2B5EF4-FFF2-40B4-BE49-F238E27FC236}">
                <a16:creationId xmlns:a16="http://schemas.microsoft.com/office/drawing/2014/main" id="{223715E6-AAA3-4247-828A-CEFB7188A5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680970" y="0"/>
            <a:ext cx="4529686" cy="6858000"/>
          </a:xfrm>
          <a:custGeom>
            <a:avLst/>
            <a:gdLst>
              <a:gd name="connsiteX0" fmla="*/ 0 w 8274464"/>
              <a:gd name="connsiteY0" fmla="*/ 6858000 h 6858000"/>
              <a:gd name="connsiteX1" fmla="*/ 1714500 w 8274464"/>
              <a:gd name="connsiteY1" fmla="*/ 0 h 6858000"/>
              <a:gd name="connsiteX2" fmla="*/ 8274464 w 8274464"/>
              <a:gd name="connsiteY2" fmla="*/ 0 h 6858000"/>
              <a:gd name="connsiteX3" fmla="*/ 6559964 w 8274464"/>
              <a:gd name="connsiteY3" fmla="*/ 6858000 h 6858000"/>
              <a:gd name="connsiteX4" fmla="*/ 0 w 8274464"/>
              <a:gd name="connsiteY4" fmla="*/ 6858000 h 6858000"/>
              <a:gd name="connsiteX0" fmla="*/ 0 w 6559964"/>
              <a:gd name="connsiteY0" fmla="*/ 6858000 h 6858000"/>
              <a:gd name="connsiteX1" fmla="*/ 1714500 w 6559964"/>
              <a:gd name="connsiteY1" fmla="*/ 0 h 6858000"/>
              <a:gd name="connsiteX2" fmla="*/ 5112810 w 6559964"/>
              <a:gd name="connsiteY2" fmla="*/ 271220 h 6858000"/>
              <a:gd name="connsiteX3" fmla="*/ 6559964 w 6559964"/>
              <a:gd name="connsiteY3" fmla="*/ 6858000 h 6858000"/>
              <a:gd name="connsiteX4" fmla="*/ 0 w 6559964"/>
              <a:gd name="connsiteY4" fmla="*/ 6858000 h 6858000"/>
              <a:gd name="connsiteX0" fmla="*/ 0 w 6559964"/>
              <a:gd name="connsiteY0" fmla="*/ 6858000 h 6858000"/>
              <a:gd name="connsiteX1" fmla="*/ 1714500 w 6559964"/>
              <a:gd name="connsiteY1" fmla="*/ 0 h 6858000"/>
              <a:gd name="connsiteX2" fmla="*/ 4523874 w 6559964"/>
              <a:gd name="connsiteY2" fmla="*/ 0 h 6858000"/>
              <a:gd name="connsiteX3" fmla="*/ 6559964 w 6559964"/>
              <a:gd name="connsiteY3" fmla="*/ 6858000 h 6858000"/>
              <a:gd name="connsiteX4" fmla="*/ 0 w 6559964"/>
              <a:gd name="connsiteY4" fmla="*/ 6858000 h 6858000"/>
              <a:gd name="connsiteX0" fmla="*/ 0 w 4523874"/>
              <a:gd name="connsiteY0" fmla="*/ 6858000 h 6858000"/>
              <a:gd name="connsiteX1" fmla="*/ 1714500 w 4523874"/>
              <a:gd name="connsiteY1" fmla="*/ 0 h 6858000"/>
              <a:gd name="connsiteX2" fmla="*/ 4523874 w 4523874"/>
              <a:gd name="connsiteY2" fmla="*/ 0 h 6858000"/>
              <a:gd name="connsiteX3" fmla="*/ 3878757 w 4523874"/>
              <a:gd name="connsiteY3" fmla="*/ 6641023 h 6858000"/>
              <a:gd name="connsiteX4" fmla="*/ 0 w 4523874"/>
              <a:gd name="connsiteY4" fmla="*/ 6858000 h 6858000"/>
              <a:gd name="connsiteX0" fmla="*/ 0 w 4529686"/>
              <a:gd name="connsiteY0" fmla="*/ 6858000 h 6858000"/>
              <a:gd name="connsiteX1" fmla="*/ 1714500 w 4529686"/>
              <a:gd name="connsiteY1" fmla="*/ 0 h 6858000"/>
              <a:gd name="connsiteX2" fmla="*/ 4523874 w 4529686"/>
              <a:gd name="connsiteY2" fmla="*/ 0 h 6858000"/>
              <a:gd name="connsiteX3" fmla="*/ 4529686 w 4529686"/>
              <a:gd name="connsiteY3" fmla="*/ 6850250 h 6858000"/>
              <a:gd name="connsiteX4" fmla="*/ 0 w 4529686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29686" h="6858000">
                <a:moveTo>
                  <a:pt x="0" y="6858000"/>
                </a:moveTo>
                <a:lnTo>
                  <a:pt x="1714500" y="0"/>
                </a:lnTo>
                <a:lnTo>
                  <a:pt x="4523874" y="0"/>
                </a:lnTo>
                <a:cubicBezTo>
                  <a:pt x="4525811" y="2283417"/>
                  <a:pt x="4527749" y="4566833"/>
                  <a:pt x="4529686" y="6850250"/>
                </a:cubicBez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4" name="Textplatzhalter 17">
            <a:extLst>
              <a:ext uri="{FF2B5EF4-FFF2-40B4-BE49-F238E27FC236}">
                <a16:creationId xmlns:a16="http://schemas.microsoft.com/office/drawing/2014/main" id="{E3CC3146-83F6-DA46-BF5F-F23F150FAA0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4500" y="1522413"/>
            <a:ext cx="7236470" cy="4570412"/>
          </a:xfrm>
          <a:prstGeom prst="rect">
            <a:avLst/>
          </a:prstGeom>
        </p:spPr>
        <p:txBody>
          <a:bodyPr/>
          <a:lstStyle>
            <a:lvl1pPr marL="342900" indent="-342900">
              <a:buFont typeface="Wingdings" panose="05000000000000000000" pitchFamily="2" charset="2"/>
              <a:buChar char="§"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579333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-Text-Bild_schraeg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F40736A5-4183-4914-9152-7CE13465F1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9276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F40736A5-4183-4914-9152-7CE13465F1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11" name="Bildplatzhalter 11">
            <a:extLst>
              <a:ext uri="{FF2B5EF4-FFF2-40B4-BE49-F238E27FC236}">
                <a16:creationId xmlns:a16="http://schemas.microsoft.com/office/drawing/2014/main" id="{11EF4FA8-E1E1-E64E-9043-5458F03868D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808663" y="0"/>
            <a:ext cx="6386499" cy="6858000"/>
          </a:xfrm>
          <a:custGeom>
            <a:avLst/>
            <a:gdLst>
              <a:gd name="connsiteX0" fmla="*/ 0 w 8100999"/>
              <a:gd name="connsiteY0" fmla="*/ 6858000 h 6858000"/>
              <a:gd name="connsiteX1" fmla="*/ 1714500 w 8100999"/>
              <a:gd name="connsiteY1" fmla="*/ 0 h 6858000"/>
              <a:gd name="connsiteX2" fmla="*/ 8100999 w 8100999"/>
              <a:gd name="connsiteY2" fmla="*/ 0 h 6858000"/>
              <a:gd name="connsiteX3" fmla="*/ 6386499 w 8100999"/>
              <a:gd name="connsiteY3" fmla="*/ 6858000 h 6858000"/>
              <a:gd name="connsiteX4" fmla="*/ 0 w 8100999"/>
              <a:gd name="connsiteY4" fmla="*/ 6858000 h 6858000"/>
              <a:gd name="connsiteX0" fmla="*/ 0 w 6386499"/>
              <a:gd name="connsiteY0" fmla="*/ 6858000 h 6858000"/>
              <a:gd name="connsiteX1" fmla="*/ 1714500 w 6386499"/>
              <a:gd name="connsiteY1" fmla="*/ 0 h 6858000"/>
              <a:gd name="connsiteX2" fmla="*/ 6089319 w 6386499"/>
              <a:gd name="connsiteY2" fmla="*/ 685800 h 6858000"/>
              <a:gd name="connsiteX3" fmla="*/ 6386499 w 6386499"/>
              <a:gd name="connsiteY3" fmla="*/ 6858000 h 6858000"/>
              <a:gd name="connsiteX4" fmla="*/ 0 w 6386499"/>
              <a:gd name="connsiteY4" fmla="*/ 6858000 h 6858000"/>
              <a:gd name="connsiteX0" fmla="*/ 0 w 6386499"/>
              <a:gd name="connsiteY0" fmla="*/ 6858000 h 6858000"/>
              <a:gd name="connsiteX1" fmla="*/ 1714500 w 6386499"/>
              <a:gd name="connsiteY1" fmla="*/ 0 h 6858000"/>
              <a:gd name="connsiteX2" fmla="*/ 6378879 w 6386499"/>
              <a:gd name="connsiteY2" fmla="*/ 0 h 6858000"/>
              <a:gd name="connsiteX3" fmla="*/ 6386499 w 6386499"/>
              <a:gd name="connsiteY3" fmla="*/ 6858000 h 6858000"/>
              <a:gd name="connsiteX4" fmla="*/ 0 w 6386499"/>
              <a:gd name="connsiteY4" fmla="*/ 6858000 h 6858000"/>
              <a:gd name="connsiteX0" fmla="*/ 0 w 6386499"/>
              <a:gd name="connsiteY0" fmla="*/ 6858000 h 6858000"/>
              <a:gd name="connsiteX1" fmla="*/ 1714500 w 6386499"/>
              <a:gd name="connsiteY1" fmla="*/ 0 h 6858000"/>
              <a:gd name="connsiteX2" fmla="*/ 6378879 w 6386499"/>
              <a:gd name="connsiteY2" fmla="*/ 0 h 6858000"/>
              <a:gd name="connsiteX3" fmla="*/ 6386499 w 6386499"/>
              <a:gd name="connsiteY3" fmla="*/ 6858000 h 6858000"/>
              <a:gd name="connsiteX4" fmla="*/ 0 w 6386499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86499" h="6858000">
                <a:moveTo>
                  <a:pt x="0" y="6858000"/>
                </a:moveTo>
                <a:lnTo>
                  <a:pt x="1714500" y="0"/>
                </a:lnTo>
                <a:lnTo>
                  <a:pt x="6378879" y="0"/>
                </a:lnTo>
                <a:lnTo>
                  <a:pt x="6386499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3" name="Textplatzhalter 17">
            <a:extLst>
              <a:ext uri="{FF2B5EF4-FFF2-40B4-BE49-F238E27FC236}">
                <a16:creationId xmlns:a16="http://schemas.microsoft.com/office/drawing/2014/main" id="{1F0F6D60-5A55-F641-9387-757B0B2A194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4500" y="1522413"/>
            <a:ext cx="5364163" cy="4570412"/>
          </a:xfrm>
          <a:prstGeom prst="rect">
            <a:avLst/>
          </a:prstGeom>
        </p:spPr>
        <p:txBody>
          <a:bodyPr numCol="1"/>
          <a:lstStyle>
            <a:lvl1pPr marL="342900" indent="-342900">
              <a:buFont typeface="Wingdings" panose="05000000000000000000" pitchFamily="2" charset="2"/>
              <a:buChar char="§"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947061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-Text-Bild_schraeg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F40736A5-4183-4914-9152-7CE13465F1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203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F40736A5-4183-4914-9152-7CE13465F1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11" name="Bildplatzhalter 11">
            <a:extLst>
              <a:ext uri="{FF2B5EF4-FFF2-40B4-BE49-F238E27FC236}">
                <a16:creationId xmlns:a16="http://schemas.microsoft.com/office/drawing/2014/main" id="{BBCC54F6-CD3B-FD42-92A8-66C64E81812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080568" y="0"/>
            <a:ext cx="8138753" cy="6865750"/>
          </a:xfrm>
          <a:custGeom>
            <a:avLst/>
            <a:gdLst>
              <a:gd name="connsiteX0" fmla="*/ 0 w 11914528"/>
              <a:gd name="connsiteY0" fmla="*/ 6858000 h 6858000"/>
              <a:gd name="connsiteX1" fmla="*/ 1714500 w 11914528"/>
              <a:gd name="connsiteY1" fmla="*/ 0 h 6858000"/>
              <a:gd name="connsiteX2" fmla="*/ 11914528 w 11914528"/>
              <a:gd name="connsiteY2" fmla="*/ 0 h 6858000"/>
              <a:gd name="connsiteX3" fmla="*/ 10200028 w 11914528"/>
              <a:gd name="connsiteY3" fmla="*/ 6858000 h 6858000"/>
              <a:gd name="connsiteX4" fmla="*/ 0 w 11914528"/>
              <a:gd name="connsiteY4" fmla="*/ 6858000 h 6858000"/>
              <a:gd name="connsiteX0" fmla="*/ 0 w 10200028"/>
              <a:gd name="connsiteY0" fmla="*/ 6858000 h 6858000"/>
              <a:gd name="connsiteX1" fmla="*/ 1714500 w 10200028"/>
              <a:gd name="connsiteY1" fmla="*/ 0 h 6858000"/>
              <a:gd name="connsiteX2" fmla="*/ 8109694 w 10200028"/>
              <a:gd name="connsiteY2" fmla="*/ 619932 h 6858000"/>
              <a:gd name="connsiteX3" fmla="*/ 10200028 w 10200028"/>
              <a:gd name="connsiteY3" fmla="*/ 6858000 h 6858000"/>
              <a:gd name="connsiteX4" fmla="*/ 0 w 10200028"/>
              <a:gd name="connsiteY4" fmla="*/ 6858000 h 6858000"/>
              <a:gd name="connsiteX0" fmla="*/ 0 w 10200028"/>
              <a:gd name="connsiteY0" fmla="*/ 6858000 h 6858000"/>
              <a:gd name="connsiteX1" fmla="*/ 1714500 w 10200028"/>
              <a:gd name="connsiteY1" fmla="*/ 0 h 6858000"/>
              <a:gd name="connsiteX2" fmla="*/ 9380555 w 10200028"/>
              <a:gd name="connsiteY2" fmla="*/ 0 h 6858000"/>
              <a:gd name="connsiteX3" fmla="*/ 10200028 w 10200028"/>
              <a:gd name="connsiteY3" fmla="*/ 6858000 h 6858000"/>
              <a:gd name="connsiteX4" fmla="*/ 0 w 10200028"/>
              <a:gd name="connsiteY4" fmla="*/ 6858000 h 6858000"/>
              <a:gd name="connsiteX0" fmla="*/ 0 w 9380555"/>
              <a:gd name="connsiteY0" fmla="*/ 6858000 h 6858000"/>
              <a:gd name="connsiteX1" fmla="*/ 1714500 w 9380555"/>
              <a:gd name="connsiteY1" fmla="*/ 0 h 6858000"/>
              <a:gd name="connsiteX2" fmla="*/ 9380555 w 9380555"/>
              <a:gd name="connsiteY2" fmla="*/ 0 h 6858000"/>
              <a:gd name="connsiteX3" fmla="*/ 8347981 w 9380555"/>
              <a:gd name="connsiteY3" fmla="*/ 6447295 h 6858000"/>
              <a:gd name="connsiteX4" fmla="*/ 0 w 9380555"/>
              <a:gd name="connsiteY4" fmla="*/ 6858000 h 6858000"/>
              <a:gd name="connsiteX0" fmla="*/ 0 w 9380555"/>
              <a:gd name="connsiteY0" fmla="*/ 6858000 h 6858000"/>
              <a:gd name="connsiteX1" fmla="*/ 1714500 w 9380555"/>
              <a:gd name="connsiteY1" fmla="*/ 0 h 6858000"/>
              <a:gd name="connsiteX2" fmla="*/ 9380555 w 9380555"/>
              <a:gd name="connsiteY2" fmla="*/ 0 h 6858000"/>
              <a:gd name="connsiteX3" fmla="*/ 9370869 w 9380555"/>
              <a:gd name="connsiteY3" fmla="*/ 6850251 h 6858000"/>
              <a:gd name="connsiteX4" fmla="*/ 0 w 9380555"/>
              <a:gd name="connsiteY4" fmla="*/ 6858000 h 6858000"/>
              <a:gd name="connsiteX0" fmla="*/ 0 w 9370876"/>
              <a:gd name="connsiteY0" fmla="*/ 6858000 h 6858000"/>
              <a:gd name="connsiteX1" fmla="*/ 1714500 w 9370876"/>
              <a:gd name="connsiteY1" fmla="*/ 0 h 6858000"/>
              <a:gd name="connsiteX2" fmla="*/ 8373165 w 9370876"/>
              <a:gd name="connsiteY2" fmla="*/ 302217 h 6858000"/>
              <a:gd name="connsiteX3" fmla="*/ 9370869 w 9370876"/>
              <a:gd name="connsiteY3" fmla="*/ 6850251 h 6858000"/>
              <a:gd name="connsiteX4" fmla="*/ 0 w 9370876"/>
              <a:gd name="connsiteY4" fmla="*/ 6858000 h 6858000"/>
              <a:gd name="connsiteX0" fmla="*/ 0 w 9370875"/>
              <a:gd name="connsiteY0" fmla="*/ 6858000 h 6858000"/>
              <a:gd name="connsiteX1" fmla="*/ 1714500 w 9370875"/>
              <a:gd name="connsiteY1" fmla="*/ 0 h 6858000"/>
              <a:gd name="connsiteX2" fmla="*/ 8125192 w 9370875"/>
              <a:gd name="connsiteY2" fmla="*/ 0 h 6858000"/>
              <a:gd name="connsiteX3" fmla="*/ 9370869 w 9370875"/>
              <a:gd name="connsiteY3" fmla="*/ 6850251 h 6858000"/>
              <a:gd name="connsiteX4" fmla="*/ 0 w 9370875"/>
              <a:gd name="connsiteY4" fmla="*/ 6858000 h 6858000"/>
              <a:gd name="connsiteX0" fmla="*/ 0 w 8125192"/>
              <a:gd name="connsiteY0" fmla="*/ 6858000 h 6858000"/>
              <a:gd name="connsiteX1" fmla="*/ 1714500 w 8125192"/>
              <a:gd name="connsiteY1" fmla="*/ 0 h 6858000"/>
              <a:gd name="connsiteX2" fmla="*/ 8125192 w 8125192"/>
              <a:gd name="connsiteY2" fmla="*/ 0 h 6858000"/>
              <a:gd name="connsiteX3" fmla="*/ 7402584 w 8125192"/>
              <a:gd name="connsiteY3" fmla="*/ 6641024 h 6858000"/>
              <a:gd name="connsiteX4" fmla="*/ 0 w 8125192"/>
              <a:gd name="connsiteY4" fmla="*/ 6858000 h 6858000"/>
              <a:gd name="connsiteX0" fmla="*/ 0 w 8139106"/>
              <a:gd name="connsiteY0" fmla="*/ 6858000 h 6865750"/>
              <a:gd name="connsiteX1" fmla="*/ 1714500 w 8139106"/>
              <a:gd name="connsiteY1" fmla="*/ 0 h 6865750"/>
              <a:gd name="connsiteX2" fmla="*/ 8125192 w 8139106"/>
              <a:gd name="connsiteY2" fmla="*/ 0 h 6865750"/>
              <a:gd name="connsiteX3" fmla="*/ 8138753 w 8139106"/>
              <a:gd name="connsiteY3" fmla="*/ 6865750 h 6865750"/>
              <a:gd name="connsiteX4" fmla="*/ 0 w 8139106"/>
              <a:gd name="connsiteY4" fmla="*/ 6858000 h 6865750"/>
              <a:gd name="connsiteX0" fmla="*/ 0 w 8138753"/>
              <a:gd name="connsiteY0" fmla="*/ 6858000 h 6865750"/>
              <a:gd name="connsiteX1" fmla="*/ 1714500 w 8138753"/>
              <a:gd name="connsiteY1" fmla="*/ 0 h 6865750"/>
              <a:gd name="connsiteX2" fmla="*/ 8125192 w 8138753"/>
              <a:gd name="connsiteY2" fmla="*/ 0 h 6865750"/>
              <a:gd name="connsiteX3" fmla="*/ 8138753 w 8138753"/>
              <a:gd name="connsiteY3" fmla="*/ 6865750 h 6865750"/>
              <a:gd name="connsiteX4" fmla="*/ 0 w 8138753"/>
              <a:gd name="connsiteY4" fmla="*/ 6858000 h 6865750"/>
              <a:gd name="connsiteX0" fmla="*/ 0 w 8138753"/>
              <a:gd name="connsiteY0" fmla="*/ 6858000 h 6865750"/>
              <a:gd name="connsiteX1" fmla="*/ 1714500 w 8138753"/>
              <a:gd name="connsiteY1" fmla="*/ 0 h 6865750"/>
              <a:gd name="connsiteX2" fmla="*/ 8125192 w 8138753"/>
              <a:gd name="connsiteY2" fmla="*/ 0 h 6865750"/>
              <a:gd name="connsiteX3" fmla="*/ 8138753 w 8138753"/>
              <a:gd name="connsiteY3" fmla="*/ 6865750 h 6865750"/>
              <a:gd name="connsiteX4" fmla="*/ 0 w 8138753"/>
              <a:gd name="connsiteY4" fmla="*/ 6858000 h 6865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38753" h="6865750">
                <a:moveTo>
                  <a:pt x="0" y="6858000"/>
                </a:moveTo>
                <a:lnTo>
                  <a:pt x="1714500" y="0"/>
                </a:lnTo>
                <a:lnTo>
                  <a:pt x="8125192" y="0"/>
                </a:lnTo>
                <a:cubicBezTo>
                  <a:pt x="8131972" y="3432875"/>
                  <a:pt x="8131972" y="3432875"/>
                  <a:pt x="8138753" y="6865750"/>
                </a:cubicBez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4" name="Textplatzhalter 17">
            <a:extLst>
              <a:ext uri="{FF2B5EF4-FFF2-40B4-BE49-F238E27FC236}">
                <a16:creationId xmlns:a16="http://schemas.microsoft.com/office/drawing/2014/main" id="{D7BC72B4-BDAF-A149-B8BE-AF3D4493EEC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4500" y="1522413"/>
            <a:ext cx="3636070" cy="4570412"/>
          </a:xfrm>
          <a:prstGeom prst="rect">
            <a:avLst/>
          </a:prstGeom>
        </p:spPr>
        <p:txBody>
          <a:bodyPr/>
          <a:lstStyle>
            <a:lvl1pPr marL="342900" indent="-342900">
              <a:buFont typeface="Wingdings" panose="05000000000000000000" pitchFamily="2" charset="2"/>
              <a:buChar char="§"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26813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ild_vol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16">
            <a:extLst>
              <a:ext uri="{FF2B5EF4-FFF2-40B4-BE49-F238E27FC236}">
                <a16:creationId xmlns:a16="http://schemas.microsoft.com/office/drawing/2014/main" id="{8A4C0224-C3D2-DC45-91A2-344C4EFE7D8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1478" y="0"/>
            <a:ext cx="12215066" cy="6866527"/>
          </a:xfrm>
          <a:prstGeom prst="rect">
            <a:avLst/>
          </a:prstGeom>
          <a:solidFill>
            <a:schemeClr val="bg2"/>
          </a:solid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880BFE37-58E9-495E-A195-6B3E849402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6607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880BFE37-58E9-495E-A195-6B3E849402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A9073B3-8AA4-9A41-AD0A-8E113FE21C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4500" y="1520825"/>
            <a:ext cx="8784642" cy="2151915"/>
          </a:xfrm>
        </p:spPr>
        <p:txBody>
          <a:bodyPr/>
          <a:lstStyle>
            <a:lvl1pPr>
              <a:defRPr sz="56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Hier könnte ein Zitat oder eine andere Aussage auf einem Bild stehen</a:t>
            </a:r>
          </a:p>
        </p:txBody>
      </p:sp>
      <p:sp>
        <p:nvSpPr>
          <p:cNvPr id="5" name="Textplatzhalter 7">
            <a:extLst>
              <a:ext uri="{FF2B5EF4-FFF2-40B4-BE49-F238E27FC236}">
                <a16:creationId xmlns:a16="http://schemas.microsoft.com/office/drawing/2014/main" id="{01086AF3-F662-BC42-814A-2536CFCB8FA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44500" y="765176"/>
            <a:ext cx="8784642" cy="755650"/>
          </a:xfrm>
          <a:prstGeom prst="rect">
            <a:avLst/>
          </a:prstGeom>
        </p:spPr>
        <p:txBody>
          <a:bodyPr wrap="square" tIns="0" numCol="1" anchor="t" anchorCtr="0">
            <a:noAutofit/>
          </a:bodyPr>
          <a:lstStyle>
            <a:lvl1pPr marL="0" indent="0">
              <a:lnSpc>
                <a:spcPct val="100000"/>
              </a:lnSpc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Zitatgeber</a:t>
            </a:r>
          </a:p>
        </p:txBody>
      </p:sp>
    </p:spTree>
    <p:extLst>
      <p:ext uri="{BB962C8B-B14F-4D97-AF65-F5344CB8AC3E}">
        <p14:creationId xmlns:p14="http://schemas.microsoft.com/office/powerpoint/2010/main" val="284399939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Zita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880BFE37-58E9-495E-A195-6B3E849402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935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880BFE37-58E9-495E-A195-6B3E849402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2">
            <a:extLst>
              <a:ext uri="{FF2B5EF4-FFF2-40B4-BE49-F238E27FC236}">
                <a16:creationId xmlns:a16="http://schemas.microsoft.com/office/drawing/2014/main" id="{C3D5025B-81A5-7F45-B5BC-B8BE990607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4500" y="1520826"/>
            <a:ext cx="8028558" cy="3014031"/>
          </a:xfrm>
        </p:spPr>
        <p:txBody>
          <a:bodyPr/>
          <a:lstStyle>
            <a:lvl1pPr>
              <a:defRPr sz="56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Hier könnte ein Zitat oder eine andere Aussage auf weißem Grund stehen.</a:t>
            </a:r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id="{E7740686-70D0-C44A-8C52-7BDC2959094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44500" y="765176"/>
            <a:ext cx="8028558" cy="755650"/>
          </a:xfrm>
          <a:prstGeom prst="rect">
            <a:avLst/>
          </a:prstGeom>
        </p:spPr>
        <p:txBody>
          <a:bodyPr wrap="square" tIns="0" numCol="1" anchor="t" anchorCtr="0">
            <a:noAutofit/>
          </a:bodyPr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Zitatgeber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37987685-74CC-C640-8CAB-34C5677CDE1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16888" y="0"/>
            <a:ext cx="4076700" cy="137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526062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Zitat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F40736A5-4183-4914-9152-7CE13465F1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760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F40736A5-4183-4914-9152-7CE13465F1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platzhalter 7">
            <a:extLst>
              <a:ext uri="{FF2B5EF4-FFF2-40B4-BE49-F238E27FC236}">
                <a16:creationId xmlns:a16="http://schemas.microsoft.com/office/drawing/2014/main" id="{FC7BDCBC-2C38-A845-B178-819166A7D57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44500" y="765176"/>
            <a:ext cx="7200466" cy="755650"/>
          </a:xfrm>
          <a:prstGeom prst="rect">
            <a:avLst/>
          </a:prstGeom>
        </p:spPr>
        <p:txBody>
          <a:bodyPr wrap="square" tIns="0" numCol="1" anchor="t" anchorCtr="0">
            <a:noAutofit/>
          </a:bodyPr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Zitatgeber</a:t>
            </a:r>
          </a:p>
        </p:txBody>
      </p:sp>
      <p:sp>
        <p:nvSpPr>
          <p:cNvPr id="9" name="Titel 2">
            <a:extLst>
              <a:ext uri="{FF2B5EF4-FFF2-40B4-BE49-F238E27FC236}">
                <a16:creationId xmlns:a16="http://schemas.microsoft.com/office/drawing/2014/main" id="{FA055BAC-BC84-9044-8851-A2B67F00C7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8460" y="1531093"/>
            <a:ext cx="7196506" cy="2326791"/>
          </a:xfrm>
        </p:spPr>
        <p:txBody>
          <a:bodyPr wrap="square">
            <a:spAutoFit/>
          </a:bodyPr>
          <a:lstStyle>
            <a:lvl1pPr>
              <a:defRPr sz="56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Hier könnte ein Zitat neben einem Foto des Zitierten stehen.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2D68FDB3-5082-6E45-8CBC-496F776FFA3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005006" y="1531093"/>
            <a:ext cx="3780594" cy="4561732"/>
          </a:xfrm>
          <a:prstGeom prst="rect">
            <a:avLst/>
          </a:prstGeom>
          <a:solidFill>
            <a:srgbClr val="C2D0D8"/>
          </a:solidFill>
          <a:ln w="34925">
            <a:solidFill>
              <a:schemeClr val="bg1"/>
            </a:solidFill>
            <a:miter lim="800000"/>
          </a:ln>
        </p:spPr>
        <p:txBody>
          <a:bodyPr/>
          <a:lstStyle/>
          <a:p>
            <a:r>
              <a:rPr lang="de-DE" dirty="0"/>
              <a:t> 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AD364E4C-B797-3845-8191-D75706F21BC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V="1">
            <a:off x="8956217" y="0"/>
            <a:ext cx="3252230" cy="1393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59512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_ein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1ADAB44F-88D4-43A1-9082-D5CD116126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5119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1ADAB44F-88D4-43A1-9082-D5CD116126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813CF70E-1DB3-0649-91A0-900AFDBE39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Agenda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8F87095-3DFD-9649-B8E5-A0A34089739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4500" y="1522413"/>
            <a:ext cx="11341100" cy="4570412"/>
          </a:xfrm>
          <a:prstGeom prst="rect">
            <a:avLst/>
          </a:prstGeom>
        </p:spPr>
        <p:txBody>
          <a:bodyPr>
            <a:normAutofit/>
          </a:bodyPr>
          <a:lstStyle>
            <a:lvl1pPr marL="457200" indent="-457200">
              <a:lnSpc>
                <a:spcPct val="150000"/>
              </a:lnSpc>
              <a:buClr>
                <a:schemeClr val="bg2"/>
              </a:buClr>
              <a:buSzPct val="150000"/>
              <a:buFont typeface="+mj-lt"/>
              <a:buAutoNum type="arabicPeriod"/>
              <a:defRPr sz="2400" b="1"/>
            </a:lvl1pPr>
            <a:lvl2pPr marL="720000" indent="-270000">
              <a:defRPr sz="2000"/>
            </a:lvl2pPr>
            <a:lvl3pPr marL="990000" indent="-270000">
              <a:defRPr sz="2000"/>
            </a:lvl3pPr>
            <a:lvl4pPr marL="1260000" indent="-270000">
              <a:defRPr sz="2000"/>
            </a:lvl4pPr>
            <a:lvl5pPr marL="1530000" indent="-270000">
              <a:defRPr sz="2000"/>
            </a:lvl5pPr>
            <a:lvl6pPr marL="1800000"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88B60B8-25F2-9D4A-8D3F-8E41BD41DE8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B2C302D-D5E1-4BFF-A618-9BE25F1FB592}" type="datetime1">
              <a:rPr lang="de-DE" smtClean="0"/>
              <a:t>05.08.2020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DF04501-C4B2-AC43-A22D-DECEF9C2FB5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© TecAlliance GmbH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C8637056-1CDC-6C40-A40F-3EBC9C44A8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E82B8A1-0CCE-4815-9668-383D7DE7D8B4}" type="slidenum">
              <a:rPr lang="de-DE" smtClean="0"/>
              <a:pPr/>
              <a:t>‹#›</a:t>
            </a:fld>
            <a:endParaRPr lang="de-DE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480213F8-F51A-624C-AC74-82B79A0B090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V="1">
            <a:off x="8956217" y="0"/>
            <a:ext cx="3252230" cy="1393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28123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Zitat_Anfuehrungszeich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F40736A5-4183-4914-9152-7CE13465F1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8427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F40736A5-4183-4914-9152-7CE13465F1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el 2">
            <a:extLst>
              <a:ext uri="{FF2B5EF4-FFF2-40B4-BE49-F238E27FC236}">
                <a16:creationId xmlns:a16="http://schemas.microsoft.com/office/drawing/2014/main" id="{8B8AD990-BC60-A949-AB3A-39C5F67B87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08655" y="1520826"/>
            <a:ext cx="8816945" cy="3025370"/>
          </a:xfrm>
        </p:spPr>
        <p:txBody>
          <a:bodyPr/>
          <a:lstStyle>
            <a:lvl1pPr algn="l">
              <a:defRPr sz="56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Hier könnte ein Zitat oder </a:t>
            </a:r>
            <a:br>
              <a:rPr lang="de-DE" dirty="0"/>
            </a:br>
            <a:r>
              <a:rPr lang="de-DE" dirty="0"/>
              <a:t>eine andere Aussage auf </a:t>
            </a:r>
            <a:br>
              <a:rPr lang="de-DE" dirty="0"/>
            </a:br>
            <a:r>
              <a:rPr lang="de-DE" dirty="0"/>
              <a:t>dem Hintergrund stehen.</a:t>
            </a:r>
            <a:br>
              <a:rPr lang="de-DE" dirty="0"/>
            </a:br>
            <a:r>
              <a:rPr lang="de-DE" dirty="0"/>
              <a:t>Mit ca. 4 Zeilen.</a:t>
            </a:r>
          </a:p>
        </p:txBody>
      </p:sp>
      <p:sp>
        <p:nvSpPr>
          <p:cNvPr id="12" name="Textplatzhalter 7">
            <a:extLst>
              <a:ext uri="{FF2B5EF4-FFF2-40B4-BE49-F238E27FC236}">
                <a16:creationId xmlns:a16="http://schemas.microsoft.com/office/drawing/2014/main" id="{A9B7E748-A27F-FF48-96B7-01E9951E447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00185" y="765176"/>
            <a:ext cx="8825415" cy="755650"/>
          </a:xfrm>
          <a:prstGeom prst="rect">
            <a:avLst/>
          </a:prstGeom>
        </p:spPr>
        <p:txBody>
          <a:bodyPr wrap="square" tIns="0" numCol="1" anchor="t" anchorCtr="0">
            <a:noAutofit/>
          </a:bodyPr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Zitatgeber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ED19847-9A32-EF49-AF19-7008109E979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44500" y="2817408"/>
            <a:ext cx="1255685" cy="1728788"/>
          </a:xfrm>
        </p:spPr>
        <p:txBody>
          <a:bodyPr/>
          <a:lstStyle>
            <a:lvl1pPr>
              <a:defRPr sz="18500" b="1"/>
            </a:lvl1pPr>
          </a:lstStyle>
          <a:p>
            <a:r>
              <a:rPr lang="de-DE" dirty="0"/>
              <a:t>„</a:t>
            </a:r>
          </a:p>
        </p:txBody>
      </p:sp>
      <p:sp>
        <p:nvSpPr>
          <p:cNvPr id="15" name="Textplatzhalter 4">
            <a:extLst>
              <a:ext uri="{FF2B5EF4-FFF2-40B4-BE49-F238E27FC236}">
                <a16:creationId xmlns:a16="http://schemas.microsoft.com/office/drawing/2014/main" id="{65FFC5F4-9F26-E343-9732-41D95FED288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534070" y="441325"/>
            <a:ext cx="1232480" cy="4104871"/>
          </a:xfrm>
        </p:spPr>
        <p:txBody>
          <a:bodyPr/>
          <a:lstStyle>
            <a:lvl1pPr>
              <a:defRPr sz="18500" b="1"/>
            </a:lvl1pPr>
          </a:lstStyle>
          <a:p>
            <a:r>
              <a:rPr lang="de-DE" dirty="0"/>
              <a:t>“</a:t>
            </a:r>
          </a:p>
        </p:txBody>
      </p:sp>
    </p:spTree>
    <p:extLst>
      <p:ext uri="{BB962C8B-B14F-4D97-AF65-F5344CB8AC3E}">
        <p14:creationId xmlns:p14="http://schemas.microsoft.com/office/powerpoint/2010/main" val="9270977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ontakt_Ein-Person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BE9203E-716F-4457-BFFC-A198FD4BFA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z="3200"/>
              <a:t>Click to edit Master title style</a:t>
            </a:r>
            <a:endParaRPr lang="de-DE" sz="3200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BAE4380-57F6-4E6D-B2B8-C7D3BACA8D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83E35E-2796-4C86-B5C1-3ACA9F153A86}" type="datetime1">
              <a:rPr lang="de-DE" smtClean="0"/>
              <a:t>05.08.2020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64A099A-160A-498D-817F-6BFE02D74D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TecAlliance GmbH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743A502-0A03-48D2-9C8A-5591AEAEE3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82B8A1-0CCE-4815-9668-383D7DE7D8B4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4" name="Bildplatzhalter 5">
            <a:extLst>
              <a:ext uri="{FF2B5EF4-FFF2-40B4-BE49-F238E27FC236}">
                <a16:creationId xmlns:a16="http://schemas.microsoft.com/office/drawing/2014/main" id="{9D9E56C9-B7EE-467A-A03E-E85C0C977AB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8790" y="2498106"/>
            <a:ext cx="1584325" cy="1882377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9" name="Textplatzhalter 2">
            <a:extLst>
              <a:ext uri="{FF2B5EF4-FFF2-40B4-BE49-F238E27FC236}">
                <a16:creationId xmlns:a16="http://schemas.microsoft.com/office/drawing/2014/main" id="{E5D8175C-0FA3-491C-AA84-FBCEAA7B2265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2554405" y="2492896"/>
            <a:ext cx="7755449" cy="342000"/>
          </a:xfrm>
        </p:spPr>
        <p:txBody>
          <a:bodyPr/>
          <a:lstStyle>
            <a:lvl1pPr marL="0" indent="0">
              <a:buFontTx/>
              <a:buNone/>
              <a:defRPr sz="2400" b="1"/>
            </a:lvl1pPr>
          </a:lstStyle>
          <a:p>
            <a:r>
              <a:rPr lang="de-DE"/>
              <a:t>First Name, Surname</a:t>
            </a:r>
            <a:endParaRPr lang="de-DE" dirty="0"/>
          </a:p>
        </p:txBody>
      </p:sp>
      <p:sp>
        <p:nvSpPr>
          <p:cNvPr id="20" name="Text Placeholder 12">
            <a:extLst>
              <a:ext uri="{FF2B5EF4-FFF2-40B4-BE49-F238E27FC236}">
                <a16:creationId xmlns:a16="http://schemas.microsoft.com/office/drawing/2014/main" id="{9BD74896-CC28-4873-B747-2CD26DFFC680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2556505" y="3210241"/>
            <a:ext cx="7753350" cy="342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U</a:t>
            </a:r>
            <a:r>
              <a:rPr lang="en-US"/>
              <a:t>nit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C42415DD-74A4-482A-93AF-BF23BCDED56E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2556263" y="3568551"/>
            <a:ext cx="7749790" cy="342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Email</a:t>
            </a:r>
          </a:p>
        </p:txBody>
      </p:sp>
      <p:sp>
        <p:nvSpPr>
          <p:cNvPr id="24" name="Text Placeholder 30">
            <a:extLst>
              <a:ext uri="{FF2B5EF4-FFF2-40B4-BE49-F238E27FC236}">
                <a16:creationId xmlns:a16="http://schemas.microsoft.com/office/drawing/2014/main" id="{46FA6420-4C61-4182-8356-63E6F5159768}"/>
              </a:ext>
            </a:extLst>
          </p:cNvPr>
          <p:cNvSpPr>
            <a:spLocks noGrp="1"/>
          </p:cNvSpPr>
          <p:nvPr>
            <p:ph type="body" sz="quarter" idx="82" hasCustomPrompt="1"/>
          </p:nvPr>
        </p:nvSpPr>
        <p:spPr>
          <a:xfrm>
            <a:off x="2553445" y="3926899"/>
            <a:ext cx="7758583" cy="342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P</a:t>
            </a:r>
            <a:r>
              <a:rPr lang="en-US"/>
              <a:t>hone / Mobile</a:t>
            </a:r>
          </a:p>
        </p:txBody>
      </p:sp>
      <p:sp>
        <p:nvSpPr>
          <p:cNvPr id="25" name="Text Placeholder 32">
            <a:extLst>
              <a:ext uri="{FF2B5EF4-FFF2-40B4-BE49-F238E27FC236}">
                <a16:creationId xmlns:a16="http://schemas.microsoft.com/office/drawing/2014/main" id="{40EDBC0A-C615-4894-81E9-4B7B3CE2922A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2552701" y="2850201"/>
            <a:ext cx="7753351" cy="342000"/>
          </a:xfrm>
        </p:spPr>
        <p:txBody>
          <a:bodyPr/>
          <a:lstStyle>
            <a:lvl1pPr marL="0" indent="0">
              <a:buNone/>
              <a:defRPr sz="2400"/>
            </a:lvl1pPr>
          </a:lstStyle>
          <a:p>
            <a:pPr lvl="0"/>
            <a:r>
              <a:rPr lang="de-DE"/>
              <a:t>F</a:t>
            </a:r>
            <a:r>
              <a:rPr lang="en-US"/>
              <a:t>unction</a:t>
            </a: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9985A59E-FBC3-4147-A43D-1FD6BECD95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16888" y="0"/>
            <a:ext cx="4076700" cy="137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288744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ontakt_2-Personen Layout_unter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5F979C7-A245-4F45-87F3-AB140C3C37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lang="de-DE" sz="3200" dirty="0"/>
            </a:br>
            <a:r>
              <a:rPr lang="de-DE" dirty="0"/>
              <a:t> </a:t>
            </a:r>
            <a:br>
              <a:rPr lang="de-DE" dirty="0"/>
            </a:b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9C0DD7A-F30E-4B54-9919-B20D21791C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14C022-8454-48DA-894F-93089FEA248C}" type="datetime1">
              <a:rPr lang="de-DE" smtClean="0"/>
              <a:t>05.08.2020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0074E55-09D3-4DFF-B787-764CC0BC38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TecAlliance GmbH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4B504-8EF9-46E5-A2F4-E4D8F13D87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82B8A1-0CCE-4815-9668-383D7DE7D8B4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21" name="Bildplatzhalter 5">
            <a:extLst>
              <a:ext uri="{FF2B5EF4-FFF2-40B4-BE49-F238E27FC236}">
                <a16:creationId xmlns:a16="http://schemas.microsoft.com/office/drawing/2014/main" id="{83B196C8-73EE-41E6-B85F-69ECEA44324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8790" y="1534707"/>
            <a:ext cx="1584325" cy="1882377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9640C75D-8227-481C-9B96-3370C35FA993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2554405" y="1529497"/>
            <a:ext cx="7755449" cy="342000"/>
          </a:xfrm>
        </p:spPr>
        <p:txBody>
          <a:bodyPr/>
          <a:lstStyle>
            <a:lvl1pPr marL="0" indent="0">
              <a:buFontTx/>
              <a:buNone/>
              <a:defRPr sz="2400" b="1"/>
            </a:lvl1pPr>
          </a:lstStyle>
          <a:p>
            <a:r>
              <a:rPr lang="de-DE"/>
              <a:t>First Name, Surname</a:t>
            </a:r>
            <a:endParaRPr lang="de-DE" dirty="0"/>
          </a:p>
        </p:txBody>
      </p:sp>
      <p:sp>
        <p:nvSpPr>
          <p:cNvPr id="25" name="Text Placeholder 12">
            <a:extLst>
              <a:ext uri="{FF2B5EF4-FFF2-40B4-BE49-F238E27FC236}">
                <a16:creationId xmlns:a16="http://schemas.microsoft.com/office/drawing/2014/main" id="{466F7AD6-39C2-4680-B641-88B333FFD8F5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2556505" y="2246842"/>
            <a:ext cx="7753350" cy="342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U</a:t>
            </a:r>
            <a:r>
              <a:rPr lang="en-US"/>
              <a:t>nit</a:t>
            </a:r>
          </a:p>
        </p:txBody>
      </p:sp>
      <p:sp>
        <p:nvSpPr>
          <p:cNvPr id="26" name="Text Placeholder 20">
            <a:extLst>
              <a:ext uri="{FF2B5EF4-FFF2-40B4-BE49-F238E27FC236}">
                <a16:creationId xmlns:a16="http://schemas.microsoft.com/office/drawing/2014/main" id="{95E7F4F0-DE11-400A-93A3-1443432C9A01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2556263" y="2605152"/>
            <a:ext cx="7749790" cy="342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Email</a:t>
            </a:r>
          </a:p>
        </p:txBody>
      </p:sp>
      <p:sp>
        <p:nvSpPr>
          <p:cNvPr id="29" name="Text Placeholder 30">
            <a:extLst>
              <a:ext uri="{FF2B5EF4-FFF2-40B4-BE49-F238E27FC236}">
                <a16:creationId xmlns:a16="http://schemas.microsoft.com/office/drawing/2014/main" id="{BAFFDC7C-B551-484F-B62B-6589DE9ABBEF}"/>
              </a:ext>
            </a:extLst>
          </p:cNvPr>
          <p:cNvSpPr>
            <a:spLocks noGrp="1"/>
          </p:cNvSpPr>
          <p:nvPr>
            <p:ph type="body" sz="quarter" idx="82" hasCustomPrompt="1"/>
          </p:nvPr>
        </p:nvSpPr>
        <p:spPr>
          <a:xfrm>
            <a:off x="2553445" y="2963500"/>
            <a:ext cx="7758583" cy="342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P</a:t>
            </a:r>
            <a:r>
              <a:rPr lang="en-US"/>
              <a:t>hone / Mobile</a:t>
            </a:r>
          </a:p>
        </p:txBody>
      </p:sp>
      <p:sp>
        <p:nvSpPr>
          <p:cNvPr id="30" name="Text Placeholder 32">
            <a:extLst>
              <a:ext uri="{FF2B5EF4-FFF2-40B4-BE49-F238E27FC236}">
                <a16:creationId xmlns:a16="http://schemas.microsoft.com/office/drawing/2014/main" id="{31AF574F-5B5C-47F1-B7E4-00E604F0A501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2552701" y="1886802"/>
            <a:ext cx="7753351" cy="342000"/>
          </a:xfrm>
        </p:spPr>
        <p:txBody>
          <a:bodyPr/>
          <a:lstStyle>
            <a:lvl1pPr marL="0" indent="0">
              <a:buNone/>
              <a:defRPr sz="2400"/>
            </a:lvl1pPr>
          </a:lstStyle>
          <a:p>
            <a:pPr lvl="0"/>
            <a:r>
              <a:rPr lang="de-DE"/>
              <a:t>F</a:t>
            </a:r>
            <a:r>
              <a:rPr lang="en-US"/>
              <a:t>unction</a:t>
            </a:r>
          </a:p>
        </p:txBody>
      </p: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72316A7E-66EB-4E13-9031-7AB444FA5729}"/>
              </a:ext>
            </a:extLst>
          </p:cNvPr>
          <p:cNvSpPr>
            <a:spLocks noGrp="1"/>
          </p:cNvSpPr>
          <p:nvPr>
            <p:ph type="body" sz="quarter" idx="84" hasCustomPrompt="1"/>
          </p:nvPr>
        </p:nvSpPr>
        <p:spPr>
          <a:xfrm>
            <a:off x="2559013" y="4155859"/>
            <a:ext cx="7755449" cy="342000"/>
          </a:xfrm>
        </p:spPr>
        <p:txBody>
          <a:bodyPr/>
          <a:lstStyle>
            <a:lvl1pPr marL="0" indent="0">
              <a:buFontTx/>
              <a:buNone/>
              <a:defRPr sz="2400" b="1"/>
            </a:lvl1pPr>
          </a:lstStyle>
          <a:p>
            <a:r>
              <a:rPr lang="de-DE"/>
              <a:t>First Name, Surname</a:t>
            </a:r>
            <a:endParaRPr lang="de-DE" dirty="0"/>
          </a:p>
        </p:txBody>
      </p:sp>
      <p:sp>
        <p:nvSpPr>
          <p:cNvPr id="38" name="Text Placeholder 12">
            <a:extLst>
              <a:ext uri="{FF2B5EF4-FFF2-40B4-BE49-F238E27FC236}">
                <a16:creationId xmlns:a16="http://schemas.microsoft.com/office/drawing/2014/main" id="{A4D29C26-DFFD-425F-ACCB-7E149826D05B}"/>
              </a:ext>
            </a:extLst>
          </p:cNvPr>
          <p:cNvSpPr>
            <a:spLocks noGrp="1"/>
          </p:cNvSpPr>
          <p:nvPr>
            <p:ph type="body" sz="quarter" idx="85" hasCustomPrompt="1"/>
          </p:nvPr>
        </p:nvSpPr>
        <p:spPr>
          <a:xfrm>
            <a:off x="2561113" y="4873204"/>
            <a:ext cx="7753350" cy="342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U</a:t>
            </a:r>
            <a:r>
              <a:rPr lang="en-US"/>
              <a:t>nit</a:t>
            </a:r>
          </a:p>
        </p:txBody>
      </p:sp>
      <p:sp>
        <p:nvSpPr>
          <p:cNvPr id="39" name="Text Placeholder 20">
            <a:extLst>
              <a:ext uri="{FF2B5EF4-FFF2-40B4-BE49-F238E27FC236}">
                <a16:creationId xmlns:a16="http://schemas.microsoft.com/office/drawing/2014/main" id="{A976E6F6-4C17-4242-9F68-B0460F464EF5}"/>
              </a:ext>
            </a:extLst>
          </p:cNvPr>
          <p:cNvSpPr>
            <a:spLocks noGrp="1"/>
          </p:cNvSpPr>
          <p:nvPr>
            <p:ph type="body" sz="quarter" idx="86" hasCustomPrompt="1"/>
          </p:nvPr>
        </p:nvSpPr>
        <p:spPr>
          <a:xfrm>
            <a:off x="2560871" y="5231514"/>
            <a:ext cx="7749790" cy="342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Email</a:t>
            </a:r>
          </a:p>
        </p:txBody>
      </p:sp>
      <p:sp>
        <p:nvSpPr>
          <p:cNvPr id="40" name="Text Placeholder 30">
            <a:extLst>
              <a:ext uri="{FF2B5EF4-FFF2-40B4-BE49-F238E27FC236}">
                <a16:creationId xmlns:a16="http://schemas.microsoft.com/office/drawing/2014/main" id="{86A46F9C-2FB9-44FB-BE5F-3763D2D6919D}"/>
              </a:ext>
            </a:extLst>
          </p:cNvPr>
          <p:cNvSpPr>
            <a:spLocks noGrp="1"/>
          </p:cNvSpPr>
          <p:nvPr>
            <p:ph type="body" sz="quarter" idx="87" hasCustomPrompt="1"/>
          </p:nvPr>
        </p:nvSpPr>
        <p:spPr>
          <a:xfrm>
            <a:off x="2558053" y="5589862"/>
            <a:ext cx="7758583" cy="342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P</a:t>
            </a:r>
            <a:r>
              <a:rPr lang="en-US"/>
              <a:t>hone / Mobile</a:t>
            </a:r>
          </a:p>
        </p:txBody>
      </p:sp>
      <p:sp>
        <p:nvSpPr>
          <p:cNvPr id="41" name="Text Placeholder 32">
            <a:extLst>
              <a:ext uri="{FF2B5EF4-FFF2-40B4-BE49-F238E27FC236}">
                <a16:creationId xmlns:a16="http://schemas.microsoft.com/office/drawing/2014/main" id="{06A7EFA3-CCE3-4C90-A367-451BD11812C6}"/>
              </a:ext>
            </a:extLst>
          </p:cNvPr>
          <p:cNvSpPr>
            <a:spLocks noGrp="1"/>
          </p:cNvSpPr>
          <p:nvPr>
            <p:ph type="body" sz="quarter" idx="88" hasCustomPrompt="1"/>
          </p:nvPr>
        </p:nvSpPr>
        <p:spPr>
          <a:xfrm>
            <a:off x="2557309" y="4513164"/>
            <a:ext cx="7753351" cy="342000"/>
          </a:xfrm>
        </p:spPr>
        <p:txBody>
          <a:bodyPr/>
          <a:lstStyle>
            <a:lvl1pPr marL="0" indent="0">
              <a:buNone/>
              <a:defRPr sz="2400"/>
            </a:lvl1pPr>
          </a:lstStyle>
          <a:p>
            <a:pPr lvl="0"/>
            <a:r>
              <a:rPr lang="de-DE"/>
              <a:t>F</a:t>
            </a:r>
            <a:r>
              <a:rPr lang="en-US"/>
              <a:t>unction</a:t>
            </a:r>
          </a:p>
        </p:txBody>
      </p:sp>
      <p:sp>
        <p:nvSpPr>
          <p:cNvPr id="42" name="Bildplatzhalter 5">
            <a:extLst>
              <a:ext uri="{FF2B5EF4-FFF2-40B4-BE49-F238E27FC236}">
                <a16:creationId xmlns:a16="http://schemas.microsoft.com/office/drawing/2014/main" id="{D24D4849-0EED-45B3-84AF-DAAC492FA801}"/>
              </a:ext>
            </a:extLst>
          </p:cNvPr>
          <p:cNvSpPr>
            <a:spLocks noGrp="1"/>
          </p:cNvSpPr>
          <p:nvPr>
            <p:ph type="pic" sz="quarter" idx="89"/>
          </p:nvPr>
        </p:nvSpPr>
        <p:spPr>
          <a:xfrm>
            <a:off x="462603" y="4157789"/>
            <a:ext cx="1584325" cy="1882377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B1AA0C2A-7691-AF43-A686-3EF6C144D03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V="1">
            <a:off x="8956217" y="0"/>
            <a:ext cx="3252230" cy="1393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506613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bschlus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16">
            <a:extLst>
              <a:ext uri="{FF2B5EF4-FFF2-40B4-BE49-F238E27FC236}">
                <a16:creationId xmlns:a16="http://schemas.microsoft.com/office/drawing/2014/main" id="{8A4C0224-C3D2-DC45-91A2-344C4EFE7D8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14815" y="-11641"/>
            <a:ext cx="12224815" cy="6124115"/>
          </a:xfrm>
          <a:custGeom>
            <a:avLst/>
            <a:gdLst>
              <a:gd name="connsiteX0" fmla="*/ 0 w 12193588"/>
              <a:gd name="connsiteY0" fmla="*/ 0 h 6867728"/>
              <a:gd name="connsiteX1" fmla="*/ 11048944 w 12193588"/>
              <a:gd name="connsiteY1" fmla="*/ 0 h 6867728"/>
              <a:gd name="connsiteX2" fmla="*/ 12193588 w 12193588"/>
              <a:gd name="connsiteY2" fmla="*/ 1144644 h 6867728"/>
              <a:gd name="connsiteX3" fmla="*/ 12193588 w 12193588"/>
              <a:gd name="connsiteY3" fmla="*/ 6867728 h 6867728"/>
              <a:gd name="connsiteX4" fmla="*/ 0 w 12193588"/>
              <a:gd name="connsiteY4" fmla="*/ 6867728 h 6867728"/>
              <a:gd name="connsiteX5" fmla="*/ 0 w 12193588"/>
              <a:gd name="connsiteY5" fmla="*/ 0 h 6867728"/>
              <a:gd name="connsiteX0" fmla="*/ 0 w 12193588"/>
              <a:gd name="connsiteY0" fmla="*/ 1501629 h 6867728"/>
              <a:gd name="connsiteX1" fmla="*/ 11048944 w 12193588"/>
              <a:gd name="connsiteY1" fmla="*/ 0 h 6867728"/>
              <a:gd name="connsiteX2" fmla="*/ 12193588 w 12193588"/>
              <a:gd name="connsiteY2" fmla="*/ 1144644 h 6867728"/>
              <a:gd name="connsiteX3" fmla="*/ 12193588 w 12193588"/>
              <a:gd name="connsiteY3" fmla="*/ 6867728 h 6867728"/>
              <a:gd name="connsiteX4" fmla="*/ 0 w 12193588"/>
              <a:gd name="connsiteY4" fmla="*/ 6867728 h 6867728"/>
              <a:gd name="connsiteX5" fmla="*/ 0 w 12193588"/>
              <a:gd name="connsiteY5" fmla="*/ 1501629 h 6867728"/>
              <a:gd name="connsiteX0" fmla="*/ 0 w 12193588"/>
              <a:gd name="connsiteY0" fmla="*/ 360726 h 5726825"/>
              <a:gd name="connsiteX1" fmla="*/ 7450067 w 12193588"/>
              <a:gd name="connsiteY1" fmla="*/ 0 h 5726825"/>
              <a:gd name="connsiteX2" fmla="*/ 12193588 w 12193588"/>
              <a:gd name="connsiteY2" fmla="*/ 3741 h 5726825"/>
              <a:gd name="connsiteX3" fmla="*/ 12193588 w 12193588"/>
              <a:gd name="connsiteY3" fmla="*/ 5726825 h 5726825"/>
              <a:gd name="connsiteX4" fmla="*/ 0 w 12193588"/>
              <a:gd name="connsiteY4" fmla="*/ 5726825 h 5726825"/>
              <a:gd name="connsiteX5" fmla="*/ 0 w 12193588"/>
              <a:gd name="connsiteY5" fmla="*/ 360726 h 5726825"/>
              <a:gd name="connsiteX0" fmla="*/ 0 w 12193588"/>
              <a:gd name="connsiteY0" fmla="*/ 360726 h 5726825"/>
              <a:gd name="connsiteX1" fmla="*/ 7450067 w 12193588"/>
              <a:gd name="connsiteY1" fmla="*/ 0 h 5726825"/>
              <a:gd name="connsiteX2" fmla="*/ 10612073 w 12193588"/>
              <a:gd name="connsiteY2" fmla="*/ 7352 h 5726825"/>
              <a:gd name="connsiteX3" fmla="*/ 12193588 w 12193588"/>
              <a:gd name="connsiteY3" fmla="*/ 3741 h 5726825"/>
              <a:gd name="connsiteX4" fmla="*/ 12193588 w 12193588"/>
              <a:gd name="connsiteY4" fmla="*/ 5726825 h 5726825"/>
              <a:gd name="connsiteX5" fmla="*/ 0 w 12193588"/>
              <a:gd name="connsiteY5" fmla="*/ 5726825 h 5726825"/>
              <a:gd name="connsiteX6" fmla="*/ 0 w 12193588"/>
              <a:gd name="connsiteY6" fmla="*/ 360726 h 5726825"/>
              <a:gd name="connsiteX0" fmla="*/ 0 w 12193588"/>
              <a:gd name="connsiteY0" fmla="*/ 1519444 h 6885543"/>
              <a:gd name="connsiteX1" fmla="*/ 7450067 w 12193588"/>
              <a:gd name="connsiteY1" fmla="*/ 1158718 h 6885543"/>
              <a:gd name="connsiteX2" fmla="*/ 8036653 w 12193588"/>
              <a:gd name="connsiteY2" fmla="*/ 0 h 6885543"/>
              <a:gd name="connsiteX3" fmla="*/ 12193588 w 12193588"/>
              <a:gd name="connsiteY3" fmla="*/ 1162459 h 6885543"/>
              <a:gd name="connsiteX4" fmla="*/ 12193588 w 12193588"/>
              <a:gd name="connsiteY4" fmla="*/ 6885543 h 6885543"/>
              <a:gd name="connsiteX5" fmla="*/ 0 w 12193588"/>
              <a:gd name="connsiteY5" fmla="*/ 6885543 h 6885543"/>
              <a:gd name="connsiteX6" fmla="*/ 0 w 12193588"/>
              <a:gd name="connsiteY6" fmla="*/ 1519444 h 6885543"/>
              <a:gd name="connsiteX0" fmla="*/ 0 w 12201977"/>
              <a:gd name="connsiteY0" fmla="*/ 1519444 h 6885543"/>
              <a:gd name="connsiteX1" fmla="*/ 7450067 w 12201977"/>
              <a:gd name="connsiteY1" fmla="*/ 1158718 h 6885543"/>
              <a:gd name="connsiteX2" fmla="*/ 8036653 w 12201977"/>
              <a:gd name="connsiteY2" fmla="*/ 0 h 6885543"/>
              <a:gd name="connsiteX3" fmla="*/ 12201977 w 12201977"/>
              <a:gd name="connsiteY3" fmla="*/ 4778 h 6885543"/>
              <a:gd name="connsiteX4" fmla="*/ 12193588 w 12201977"/>
              <a:gd name="connsiteY4" fmla="*/ 6885543 h 6885543"/>
              <a:gd name="connsiteX5" fmla="*/ 0 w 12201977"/>
              <a:gd name="connsiteY5" fmla="*/ 6885543 h 6885543"/>
              <a:gd name="connsiteX6" fmla="*/ 0 w 12201977"/>
              <a:gd name="connsiteY6" fmla="*/ 1519444 h 6885543"/>
              <a:gd name="connsiteX0" fmla="*/ 0 w 12202784"/>
              <a:gd name="connsiteY0" fmla="*/ 1519444 h 6885543"/>
              <a:gd name="connsiteX1" fmla="*/ 7450067 w 12202784"/>
              <a:gd name="connsiteY1" fmla="*/ 1158718 h 6885543"/>
              <a:gd name="connsiteX2" fmla="*/ 8036653 w 12202784"/>
              <a:gd name="connsiteY2" fmla="*/ 0 h 6885543"/>
              <a:gd name="connsiteX3" fmla="*/ 12201977 w 12202784"/>
              <a:gd name="connsiteY3" fmla="*/ 4778 h 6885543"/>
              <a:gd name="connsiteX4" fmla="*/ 12201977 w 12202784"/>
              <a:gd name="connsiteY4" fmla="*/ 5895642 h 6885543"/>
              <a:gd name="connsiteX5" fmla="*/ 0 w 12202784"/>
              <a:gd name="connsiteY5" fmla="*/ 6885543 h 6885543"/>
              <a:gd name="connsiteX6" fmla="*/ 0 w 12202784"/>
              <a:gd name="connsiteY6" fmla="*/ 1519444 h 6885543"/>
              <a:gd name="connsiteX0" fmla="*/ 0 w 12202784"/>
              <a:gd name="connsiteY0" fmla="*/ 1519444 h 5895642"/>
              <a:gd name="connsiteX1" fmla="*/ 7450067 w 12202784"/>
              <a:gd name="connsiteY1" fmla="*/ 1158718 h 5895642"/>
              <a:gd name="connsiteX2" fmla="*/ 8036653 w 12202784"/>
              <a:gd name="connsiteY2" fmla="*/ 0 h 5895642"/>
              <a:gd name="connsiteX3" fmla="*/ 12201977 w 12202784"/>
              <a:gd name="connsiteY3" fmla="*/ 4778 h 5895642"/>
              <a:gd name="connsiteX4" fmla="*/ 12201977 w 12202784"/>
              <a:gd name="connsiteY4" fmla="*/ 5895642 h 5895642"/>
              <a:gd name="connsiteX5" fmla="*/ 0 w 12202784"/>
              <a:gd name="connsiteY5" fmla="*/ 5895642 h 5895642"/>
              <a:gd name="connsiteX6" fmla="*/ 0 w 12202784"/>
              <a:gd name="connsiteY6" fmla="*/ 1519444 h 5895642"/>
              <a:gd name="connsiteX0" fmla="*/ 0 w 12202784"/>
              <a:gd name="connsiteY0" fmla="*/ 1519444 h 5895642"/>
              <a:gd name="connsiteX1" fmla="*/ 7206786 w 12202784"/>
              <a:gd name="connsiteY1" fmla="*/ 1628501 h 5895642"/>
              <a:gd name="connsiteX2" fmla="*/ 8036653 w 12202784"/>
              <a:gd name="connsiteY2" fmla="*/ 0 h 5895642"/>
              <a:gd name="connsiteX3" fmla="*/ 12201977 w 12202784"/>
              <a:gd name="connsiteY3" fmla="*/ 4778 h 5895642"/>
              <a:gd name="connsiteX4" fmla="*/ 12201977 w 12202784"/>
              <a:gd name="connsiteY4" fmla="*/ 5895642 h 5895642"/>
              <a:gd name="connsiteX5" fmla="*/ 0 w 12202784"/>
              <a:gd name="connsiteY5" fmla="*/ 5895642 h 5895642"/>
              <a:gd name="connsiteX6" fmla="*/ 0 w 12202784"/>
              <a:gd name="connsiteY6" fmla="*/ 1519444 h 5895642"/>
              <a:gd name="connsiteX0" fmla="*/ 0 w 12202784"/>
              <a:gd name="connsiteY0" fmla="*/ 2123452 h 5895642"/>
              <a:gd name="connsiteX1" fmla="*/ 7206786 w 12202784"/>
              <a:gd name="connsiteY1" fmla="*/ 1628501 h 5895642"/>
              <a:gd name="connsiteX2" fmla="*/ 8036653 w 12202784"/>
              <a:gd name="connsiteY2" fmla="*/ 0 h 5895642"/>
              <a:gd name="connsiteX3" fmla="*/ 12201977 w 12202784"/>
              <a:gd name="connsiteY3" fmla="*/ 4778 h 5895642"/>
              <a:gd name="connsiteX4" fmla="*/ 12201977 w 12202784"/>
              <a:gd name="connsiteY4" fmla="*/ 5895642 h 5895642"/>
              <a:gd name="connsiteX5" fmla="*/ 0 w 12202784"/>
              <a:gd name="connsiteY5" fmla="*/ 5895642 h 5895642"/>
              <a:gd name="connsiteX6" fmla="*/ 0 w 12202784"/>
              <a:gd name="connsiteY6" fmla="*/ 2123452 h 5895642"/>
              <a:gd name="connsiteX0" fmla="*/ 0 w 12202784"/>
              <a:gd name="connsiteY0" fmla="*/ 2123452 h 5895642"/>
              <a:gd name="connsiteX1" fmla="*/ 7425447 w 12202784"/>
              <a:gd name="connsiteY1" fmla="*/ 2126329 h 5895642"/>
              <a:gd name="connsiteX2" fmla="*/ 8036653 w 12202784"/>
              <a:gd name="connsiteY2" fmla="*/ 0 h 5895642"/>
              <a:gd name="connsiteX3" fmla="*/ 12201977 w 12202784"/>
              <a:gd name="connsiteY3" fmla="*/ 4778 h 5895642"/>
              <a:gd name="connsiteX4" fmla="*/ 12201977 w 12202784"/>
              <a:gd name="connsiteY4" fmla="*/ 5895642 h 5895642"/>
              <a:gd name="connsiteX5" fmla="*/ 0 w 12202784"/>
              <a:gd name="connsiteY5" fmla="*/ 5895642 h 5895642"/>
              <a:gd name="connsiteX6" fmla="*/ 0 w 12202784"/>
              <a:gd name="connsiteY6" fmla="*/ 2123452 h 5895642"/>
              <a:gd name="connsiteX0" fmla="*/ 218661 w 12202784"/>
              <a:gd name="connsiteY0" fmla="*/ 2720845 h 5895642"/>
              <a:gd name="connsiteX1" fmla="*/ 7425447 w 12202784"/>
              <a:gd name="connsiteY1" fmla="*/ 2126329 h 5895642"/>
              <a:gd name="connsiteX2" fmla="*/ 8036653 w 12202784"/>
              <a:gd name="connsiteY2" fmla="*/ 0 h 5895642"/>
              <a:gd name="connsiteX3" fmla="*/ 12201977 w 12202784"/>
              <a:gd name="connsiteY3" fmla="*/ 4778 h 5895642"/>
              <a:gd name="connsiteX4" fmla="*/ 12201977 w 12202784"/>
              <a:gd name="connsiteY4" fmla="*/ 5895642 h 5895642"/>
              <a:gd name="connsiteX5" fmla="*/ 0 w 12202784"/>
              <a:gd name="connsiteY5" fmla="*/ 5895642 h 5895642"/>
              <a:gd name="connsiteX6" fmla="*/ 218661 w 12202784"/>
              <a:gd name="connsiteY6" fmla="*/ 2720845 h 5895642"/>
              <a:gd name="connsiteX0" fmla="*/ 0 w 12202784"/>
              <a:gd name="connsiteY0" fmla="*/ 2292713 h 5895642"/>
              <a:gd name="connsiteX1" fmla="*/ 7425447 w 12202784"/>
              <a:gd name="connsiteY1" fmla="*/ 2126329 h 5895642"/>
              <a:gd name="connsiteX2" fmla="*/ 8036653 w 12202784"/>
              <a:gd name="connsiteY2" fmla="*/ 0 h 5895642"/>
              <a:gd name="connsiteX3" fmla="*/ 12201977 w 12202784"/>
              <a:gd name="connsiteY3" fmla="*/ 4778 h 5895642"/>
              <a:gd name="connsiteX4" fmla="*/ 12201977 w 12202784"/>
              <a:gd name="connsiteY4" fmla="*/ 5895642 h 5895642"/>
              <a:gd name="connsiteX5" fmla="*/ 0 w 12202784"/>
              <a:gd name="connsiteY5" fmla="*/ 5895642 h 5895642"/>
              <a:gd name="connsiteX6" fmla="*/ 0 w 12202784"/>
              <a:gd name="connsiteY6" fmla="*/ 2292713 h 5895642"/>
              <a:gd name="connsiteX0" fmla="*/ 0 w 12202784"/>
              <a:gd name="connsiteY0" fmla="*/ 2292713 h 5895642"/>
              <a:gd name="connsiteX1" fmla="*/ 9522603 w 12202784"/>
              <a:gd name="connsiteY1" fmla="*/ 2395157 h 5895642"/>
              <a:gd name="connsiteX2" fmla="*/ 8036653 w 12202784"/>
              <a:gd name="connsiteY2" fmla="*/ 0 h 5895642"/>
              <a:gd name="connsiteX3" fmla="*/ 12201977 w 12202784"/>
              <a:gd name="connsiteY3" fmla="*/ 4778 h 5895642"/>
              <a:gd name="connsiteX4" fmla="*/ 12201977 w 12202784"/>
              <a:gd name="connsiteY4" fmla="*/ 5895642 h 5895642"/>
              <a:gd name="connsiteX5" fmla="*/ 0 w 12202784"/>
              <a:gd name="connsiteY5" fmla="*/ 5895642 h 5895642"/>
              <a:gd name="connsiteX6" fmla="*/ 0 w 12202784"/>
              <a:gd name="connsiteY6" fmla="*/ 2292713 h 5895642"/>
              <a:gd name="connsiteX0" fmla="*/ 0 w 12202784"/>
              <a:gd name="connsiteY0" fmla="*/ 2292713 h 5895642"/>
              <a:gd name="connsiteX1" fmla="*/ 7296237 w 12202784"/>
              <a:gd name="connsiteY1" fmla="*/ 1728066 h 5895642"/>
              <a:gd name="connsiteX2" fmla="*/ 8036653 w 12202784"/>
              <a:gd name="connsiteY2" fmla="*/ 0 h 5895642"/>
              <a:gd name="connsiteX3" fmla="*/ 12201977 w 12202784"/>
              <a:gd name="connsiteY3" fmla="*/ 4778 h 5895642"/>
              <a:gd name="connsiteX4" fmla="*/ 12201977 w 12202784"/>
              <a:gd name="connsiteY4" fmla="*/ 5895642 h 5895642"/>
              <a:gd name="connsiteX5" fmla="*/ 0 w 12202784"/>
              <a:gd name="connsiteY5" fmla="*/ 5895642 h 5895642"/>
              <a:gd name="connsiteX6" fmla="*/ 0 w 12202784"/>
              <a:gd name="connsiteY6" fmla="*/ 2292713 h 5895642"/>
              <a:gd name="connsiteX0" fmla="*/ 0 w 12202784"/>
              <a:gd name="connsiteY0" fmla="*/ 2292713 h 5895642"/>
              <a:gd name="connsiteX1" fmla="*/ 7306177 w 12202784"/>
              <a:gd name="connsiteY1" fmla="*/ 1140629 h 5895642"/>
              <a:gd name="connsiteX2" fmla="*/ 8036653 w 12202784"/>
              <a:gd name="connsiteY2" fmla="*/ 0 h 5895642"/>
              <a:gd name="connsiteX3" fmla="*/ 12201977 w 12202784"/>
              <a:gd name="connsiteY3" fmla="*/ 4778 h 5895642"/>
              <a:gd name="connsiteX4" fmla="*/ 12201977 w 12202784"/>
              <a:gd name="connsiteY4" fmla="*/ 5895642 h 5895642"/>
              <a:gd name="connsiteX5" fmla="*/ 0 w 12202784"/>
              <a:gd name="connsiteY5" fmla="*/ 5895642 h 5895642"/>
              <a:gd name="connsiteX6" fmla="*/ 0 w 12202784"/>
              <a:gd name="connsiteY6" fmla="*/ 2292713 h 5895642"/>
              <a:gd name="connsiteX0" fmla="*/ 0 w 12202784"/>
              <a:gd name="connsiteY0" fmla="*/ 1774971 h 5895642"/>
              <a:gd name="connsiteX1" fmla="*/ 7306177 w 12202784"/>
              <a:gd name="connsiteY1" fmla="*/ 1140629 h 5895642"/>
              <a:gd name="connsiteX2" fmla="*/ 8036653 w 12202784"/>
              <a:gd name="connsiteY2" fmla="*/ 0 h 5895642"/>
              <a:gd name="connsiteX3" fmla="*/ 12201977 w 12202784"/>
              <a:gd name="connsiteY3" fmla="*/ 4778 h 5895642"/>
              <a:gd name="connsiteX4" fmla="*/ 12201977 w 12202784"/>
              <a:gd name="connsiteY4" fmla="*/ 5895642 h 5895642"/>
              <a:gd name="connsiteX5" fmla="*/ 0 w 12202784"/>
              <a:gd name="connsiteY5" fmla="*/ 5895642 h 5895642"/>
              <a:gd name="connsiteX6" fmla="*/ 0 w 12202784"/>
              <a:gd name="connsiteY6" fmla="*/ 1774971 h 5895642"/>
              <a:gd name="connsiteX0" fmla="*/ 0 w 12202784"/>
              <a:gd name="connsiteY0" fmla="*/ 1774971 h 5895642"/>
              <a:gd name="connsiteX1" fmla="*/ 7276360 w 12202784"/>
              <a:gd name="connsiteY1" fmla="*/ 1708154 h 5895642"/>
              <a:gd name="connsiteX2" fmla="*/ 8036653 w 12202784"/>
              <a:gd name="connsiteY2" fmla="*/ 0 h 5895642"/>
              <a:gd name="connsiteX3" fmla="*/ 12201977 w 12202784"/>
              <a:gd name="connsiteY3" fmla="*/ 4778 h 5895642"/>
              <a:gd name="connsiteX4" fmla="*/ 12201977 w 12202784"/>
              <a:gd name="connsiteY4" fmla="*/ 5895642 h 5895642"/>
              <a:gd name="connsiteX5" fmla="*/ 0 w 12202784"/>
              <a:gd name="connsiteY5" fmla="*/ 5895642 h 5895642"/>
              <a:gd name="connsiteX6" fmla="*/ 0 w 12202784"/>
              <a:gd name="connsiteY6" fmla="*/ 1774971 h 5895642"/>
              <a:gd name="connsiteX0" fmla="*/ 0 w 12202784"/>
              <a:gd name="connsiteY0" fmla="*/ 1774971 h 5895642"/>
              <a:gd name="connsiteX1" fmla="*/ 6988125 w 12202784"/>
              <a:gd name="connsiteY1" fmla="*/ 1548849 h 5895642"/>
              <a:gd name="connsiteX2" fmla="*/ 8036653 w 12202784"/>
              <a:gd name="connsiteY2" fmla="*/ 0 h 5895642"/>
              <a:gd name="connsiteX3" fmla="*/ 12201977 w 12202784"/>
              <a:gd name="connsiteY3" fmla="*/ 4778 h 5895642"/>
              <a:gd name="connsiteX4" fmla="*/ 12201977 w 12202784"/>
              <a:gd name="connsiteY4" fmla="*/ 5895642 h 5895642"/>
              <a:gd name="connsiteX5" fmla="*/ 0 w 12202784"/>
              <a:gd name="connsiteY5" fmla="*/ 5895642 h 5895642"/>
              <a:gd name="connsiteX6" fmla="*/ 0 w 12202784"/>
              <a:gd name="connsiteY6" fmla="*/ 1774971 h 5895642"/>
              <a:gd name="connsiteX0" fmla="*/ 278296 w 12202784"/>
              <a:gd name="connsiteY0" fmla="*/ 2491845 h 5895642"/>
              <a:gd name="connsiteX1" fmla="*/ 6988125 w 12202784"/>
              <a:gd name="connsiteY1" fmla="*/ 1548849 h 5895642"/>
              <a:gd name="connsiteX2" fmla="*/ 8036653 w 12202784"/>
              <a:gd name="connsiteY2" fmla="*/ 0 h 5895642"/>
              <a:gd name="connsiteX3" fmla="*/ 12201977 w 12202784"/>
              <a:gd name="connsiteY3" fmla="*/ 4778 h 5895642"/>
              <a:gd name="connsiteX4" fmla="*/ 12201977 w 12202784"/>
              <a:gd name="connsiteY4" fmla="*/ 5895642 h 5895642"/>
              <a:gd name="connsiteX5" fmla="*/ 0 w 12202784"/>
              <a:gd name="connsiteY5" fmla="*/ 5895642 h 5895642"/>
              <a:gd name="connsiteX6" fmla="*/ 278296 w 12202784"/>
              <a:gd name="connsiteY6" fmla="*/ 2491845 h 5895642"/>
              <a:gd name="connsiteX0" fmla="*/ 0 w 12202784"/>
              <a:gd name="connsiteY0" fmla="*/ 2282757 h 5895642"/>
              <a:gd name="connsiteX1" fmla="*/ 6988125 w 12202784"/>
              <a:gd name="connsiteY1" fmla="*/ 1548849 h 5895642"/>
              <a:gd name="connsiteX2" fmla="*/ 8036653 w 12202784"/>
              <a:gd name="connsiteY2" fmla="*/ 0 h 5895642"/>
              <a:gd name="connsiteX3" fmla="*/ 12201977 w 12202784"/>
              <a:gd name="connsiteY3" fmla="*/ 4778 h 5895642"/>
              <a:gd name="connsiteX4" fmla="*/ 12201977 w 12202784"/>
              <a:gd name="connsiteY4" fmla="*/ 5895642 h 5895642"/>
              <a:gd name="connsiteX5" fmla="*/ 0 w 12202784"/>
              <a:gd name="connsiteY5" fmla="*/ 5895642 h 5895642"/>
              <a:gd name="connsiteX6" fmla="*/ 0 w 12202784"/>
              <a:gd name="connsiteY6" fmla="*/ 2282757 h 5895642"/>
              <a:gd name="connsiteX0" fmla="*/ 0 w 12208722"/>
              <a:gd name="connsiteY0" fmla="*/ 4641 h 5895642"/>
              <a:gd name="connsiteX1" fmla="*/ 6994063 w 12208722"/>
              <a:gd name="connsiteY1" fmla="*/ 1548849 h 5895642"/>
              <a:gd name="connsiteX2" fmla="*/ 8042591 w 12208722"/>
              <a:gd name="connsiteY2" fmla="*/ 0 h 5895642"/>
              <a:gd name="connsiteX3" fmla="*/ 12207915 w 12208722"/>
              <a:gd name="connsiteY3" fmla="*/ 4778 h 5895642"/>
              <a:gd name="connsiteX4" fmla="*/ 12207915 w 12208722"/>
              <a:gd name="connsiteY4" fmla="*/ 5895642 h 5895642"/>
              <a:gd name="connsiteX5" fmla="*/ 5938 w 12208722"/>
              <a:gd name="connsiteY5" fmla="*/ 5895642 h 5895642"/>
              <a:gd name="connsiteX6" fmla="*/ 0 w 12208722"/>
              <a:gd name="connsiteY6" fmla="*/ 4641 h 5895642"/>
              <a:gd name="connsiteX0" fmla="*/ 0 w 12208722"/>
              <a:gd name="connsiteY0" fmla="*/ 4641 h 5901589"/>
              <a:gd name="connsiteX1" fmla="*/ 6994063 w 12208722"/>
              <a:gd name="connsiteY1" fmla="*/ 1548849 h 5901589"/>
              <a:gd name="connsiteX2" fmla="*/ 8042591 w 12208722"/>
              <a:gd name="connsiteY2" fmla="*/ 0 h 5901589"/>
              <a:gd name="connsiteX3" fmla="*/ 12207915 w 12208722"/>
              <a:gd name="connsiteY3" fmla="*/ 4778 h 5901589"/>
              <a:gd name="connsiteX4" fmla="*/ 12207915 w 12208722"/>
              <a:gd name="connsiteY4" fmla="*/ 5895642 h 5901589"/>
              <a:gd name="connsiteX5" fmla="*/ 6121730 w 12208722"/>
              <a:gd name="connsiteY5" fmla="*/ 5901589 h 5901589"/>
              <a:gd name="connsiteX6" fmla="*/ 0 w 12208722"/>
              <a:gd name="connsiteY6" fmla="*/ 4641 h 5901589"/>
              <a:gd name="connsiteX0" fmla="*/ 0 w 12208722"/>
              <a:gd name="connsiteY0" fmla="*/ 4641 h 5901589"/>
              <a:gd name="connsiteX1" fmla="*/ 6994063 w 12208722"/>
              <a:gd name="connsiteY1" fmla="*/ 1548849 h 5901589"/>
              <a:gd name="connsiteX2" fmla="*/ 8042591 w 12208722"/>
              <a:gd name="connsiteY2" fmla="*/ 0 h 5901589"/>
              <a:gd name="connsiteX3" fmla="*/ 12207915 w 12208722"/>
              <a:gd name="connsiteY3" fmla="*/ 4778 h 5901589"/>
              <a:gd name="connsiteX4" fmla="*/ 12207915 w 12208722"/>
              <a:gd name="connsiteY4" fmla="*/ 5895642 h 5901589"/>
              <a:gd name="connsiteX5" fmla="*/ 6121730 w 12208722"/>
              <a:gd name="connsiteY5" fmla="*/ 5901589 h 5901589"/>
              <a:gd name="connsiteX6" fmla="*/ 0 w 12208722"/>
              <a:gd name="connsiteY6" fmla="*/ 4641 h 5901589"/>
              <a:gd name="connsiteX0" fmla="*/ 0 w 12208722"/>
              <a:gd name="connsiteY0" fmla="*/ 4641 h 5901589"/>
              <a:gd name="connsiteX1" fmla="*/ 6994063 w 12208722"/>
              <a:gd name="connsiteY1" fmla="*/ 1548849 h 5901589"/>
              <a:gd name="connsiteX2" fmla="*/ 8042591 w 12208722"/>
              <a:gd name="connsiteY2" fmla="*/ 0 h 5901589"/>
              <a:gd name="connsiteX3" fmla="*/ 12207915 w 12208722"/>
              <a:gd name="connsiteY3" fmla="*/ 4778 h 5901589"/>
              <a:gd name="connsiteX4" fmla="*/ 12207915 w 12208722"/>
              <a:gd name="connsiteY4" fmla="*/ 5895642 h 5901589"/>
              <a:gd name="connsiteX5" fmla="*/ 6121730 w 12208722"/>
              <a:gd name="connsiteY5" fmla="*/ 5901589 h 5901589"/>
              <a:gd name="connsiteX6" fmla="*/ 0 w 12208722"/>
              <a:gd name="connsiteY6" fmla="*/ 4641 h 5901589"/>
              <a:gd name="connsiteX0" fmla="*/ 0 w 6389813"/>
              <a:gd name="connsiteY0" fmla="*/ 3912531 h 5901589"/>
              <a:gd name="connsiteX1" fmla="*/ 1175154 w 6389813"/>
              <a:gd name="connsiteY1" fmla="*/ 1548849 h 5901589"/>
              <a:gd name="connsiteX2" fmla="*/ 2223682 w 6389813"/>
              <a:gd name="connsiteY2" fmla="*/ 0 h 5901589"/>
              <a:gd name="connsiteX3" fmla="*/ 6389006 w 6389813"/>
              <a:gd name="connsiteY3" fmla="*/ 4778 h 5901589"/>
              <a:gd name="connsiteX4" fmla="*/ 6389006 w 6389813"/>
              <a:gd name="connsiteY4" fmla="*/ 5895642 h 5901589"/>
              <a:gd name="connsiteX5" fmla="*/ 302821 w 6389813"/>
              <a:gd name="connsiteY5" fmla="*/ 5901589 h 5901589"/>
              <a:gd name="connsiteX6" fmla="*/ 0 w 6389813"/>
              <a:gd name="connsiteY6" fmla="*/ 3912531 h 5901589"/>
              <a:gd name="connsiteX0" fmla="*/ 5813474 w 12203287"/>
              <a:gd name="connsiteY0" fmla="*/ 3912531 h 5901589"/>
              <a:gd name="connsiteX1" fmla="*/ 0 w 12203287"/>
              <a:gd name="connsiteY1" fmla="*/ 3434391 h 5901589"/>
              <a:gd name="connsiteX2" fmla="*/ 8037156 w 12203287"/>
              <a:gd name="connsiteY2" fmla="*/ 0 h 5901589"/>
              <a:gd name="connsiteX3" fmla="*/ 12202480 w 12203287"/>
              <a:gd name="connsiteY3" fmla="*/ 4778 h 5901589"/>
              <a:gd name="connsiteX4" fmla="*/ 12202480 w 12203287"/>
              <a:gd name="connsiteY4" fmla="*/ 5895642 h 5901589"/>
              <a:gd name="connsiteX5" fmla="*/ 6116295 w 12203287"/>
              <a:gd name="connsiteY5" fmla="*/ 5901589 h 5901589"/>
              <a:gd name="connsiteX6" fmla="*/ 5813474 w 12203287"/>
              <a:gd name="connsiteY6" fmla="*/ 3912531 h 5901589"/>
              <a:gd name="connsiteX0" fmla="*/ 5827788 w 12217601"/>
              <a:gd name="connsiteY0" fmla="*/ 3912531 h 5901589"/>
              <a:gd name="connsiteX1" fmla="*/ 14314 w 12217601"/>
              <a:gd name="connsiteY1" fmla="*/ 3434391 h 5901589"/>
              <a:gd name="connsiteX2" fmla="*/ 0 w 12217601"/>
              <a:gd name="connsiteY2" fmla="*/ 0 h 5901589"/>
              <a:gd name="connsiteX3" fmla="*/ 12216794 w 12217601"/>
              <a:gd name="connsiteY3" fmla="*/ 4778 h 5901589"/>
              <a:gd name="connsiteX4" fmla="*/ 12216794 w 12217601"/>
              <a:gd name="connsiteY4" fmla="*/ 5895642 h 5901589"/>
              <a:gd name="connsiteX5" fmla="*/ 6130609 w 12217601"/>
              <a:gd name="connsiteY5" fmla="*/ 5901589 h 5901589"/>
              <a:gd name="connsiteX6" fmla="*/ 5827788 w 12217601"/>
              <a:gd name="connsiteY6" fmla="*/ 3912531 h 5901589"/>
              <a:gd name="connsiteX0" fmla="*/ 5827788 w 12217601"/>
              <a:gd name="connsiteY0" fmla="*/ 3912531 h 5895642"/>
              <a:gd name="connsiteX1" fmla="*/ 14314 w 12217601"/>
              <a:gd name="connsiteY1" fmla="*/ 3434391 h 5895642"/>
              <a:gd name="connsiteX2" fmla="*/ 0 w 12217601"/>
              <a:gd name="connsiteY2" fmla="*/ 0 h 5895642"/>
              <a:gd name="connsiteX3" fmla="*/ 12216794 w 12217601"/>
              <a:gd name="connsiteY3" fmla="*/ 4778 h 5895642"/>
              <a:gd name="connsiteX4" fmla="*/ 12216794 w 12217601"/>
              <a:gd name="connsiteY4" fmla="*/ 5895642 h 5895642"/>
              <a:gd name="connsiteX5" fmla="*/ 8095975 w 12217601"/>
              <a:gd name="connsiteY5" fmla="*/ 5895642 h 5895642"/>
              <a:gd name="connsiteX6" fmla="*/ 5827788 w 12217601"/>
              <a:gd name="connsiteY6" fmla="*/ 3912531 h 5895642"/>
              <a:gd name="connsiteX0" fmla="*/ 8095975 w 12217601"/>
              <a:gd name="connsiteY0" fmla="*/ 4001752 h 5895642"/>
              <a:gd name="connsiteX1" fmla="*/ 14314 w 12217601"/>
              <a:gd name="connsiteY1" fmla="*/ 3434391 h 5895642"/>
              <a:gd name="connsiteX2" fmla="*/ 0 w 12217601"/>
              <a:gd name="connsiteY2" fmla="*/ 0 h 5895642"/>
              <a:gd name="connsiteX3" fmla="*/ 12216794 w 12217601"/>
              <a:gd name="connsiteY3" fmla="*/ 4778 h 5895642"/>
              <a:gd name="connsiteX4" fmla="*/ 12216794 w 12217601"/>
              <a:gd name="connsiteY4" fmla="*/ 5895642 h 5895642"/>
              <a:gd name="connsiteX5" fmla="*/ 8095975 w 12217601"/>
              <a:gd name="connsiteY5" fmla="*/ 5895642 h 5895642"/>
              <a:gd name="connsiteX6" fmla="*/ 8095975 w 12217601"/>
              <a:gd name="connsiteY6" fmla="*/ 4001752 h 5895642"/>
              <a:gd name="connsiteX0" fmla="*/ 7282516 w 12217601"/>
              <a:gd name="connsiteY0" fmla="*/ 4007701 h 5895642"/>
              <a:gd name="connsiteX1" fmla="*/ 14314 w 12217601"/>
              <a:gd name="connsiteY1" fmla="*/ 3434391 h 5895642"/>
              <a:gd name="connsiteX2" fmla="*/ 0 w 12217601"/>
              <a:gd name="connsiteY2" fmla="*/ 0 h 5895642"/>
              <a:gd name="connsiteX3" fmla="*/ 12216794 w 12217601"/>
              <a:gd name="connsiteY3" fmla="*/ 4778 h 5895642"/>
              <a:gd name="connsiteX4" fmla="*/ 12216794 w 12217601"/>
              <a:gd name="connsiteY4" fmla="*/ 5895642 h 5895642"/>
              <a:gd name="connsiteX5" fmla="*/ 8095975 w 12217601"/>
              <a:gd name="connsiteY5" fmla="*/ 5895642 h 5895642"/>
              <a:gd name="connsiteX6" fmla="*/ 7282516 w 12217601"/>
              <a:gd name="connsiteY6" fmla="*/ 4007701 h 5895642"/>
              <a:gd name="connsiteX0" fmla="*/ 7282516 w 12217601"/>
              <a:gd name="connsiteY0" fmla="*/ 4007701 h 5895642"/>
              <a:gd name="connsiteX1" fmla="*/ 14314 w 12217601"/>
              <a:gd name="connsiteY1" fmla="*/ 3434391 h 5895642"/>
              <a:gd name="connsiteX2" fmla="*/ 0 w 12217601"/>
              <a:gd name="connsiteY2" fmla="*/ 0 h 5895642"/>
              <a:gd name="connsiteX3" fmla="*/ 12216794 w 12217601"/>
              <a:gd name="connsiteY3" fmla="*/ 4778 h 5895642"/>
              <a:gd name="connsiteX4" fmla="*/ 12216794 w 12217601"/>
              <a:gd name="connsiteY4" fmla="*/ 5895642 h 5895642"/>
              <a:gd name="connsiteX5" fmla="*/ 8903497 w 12217601"/>
              <a:gd name="connsiteY5" fmla="*/ 5895642 h 5895642"/>
              <a:gd name="connsiteX6" fmla="*/ 7282516 w 12217601"/>
              <a:gd name="connsiteY6" fmla="*/ 4007701 h 5895642"/>
              <a:gd name="connsiteX0" fmla="*/ 8392859 w 12217601"/>
              <a:gd name="connsiteY0" fmla="*/ 3537803 h 5895642"/>
              <a:gd name="connsiteX1" fmla="*/ 14314 w 12217601"/>
              <a:gd name="connsiteY1" fmla="*/ 3434391 h 5895642"/>
              <a:gd name="connsiteX2" fmla="*/ 0 w 12217601"/>
              <a:gd name="connsiteY2" fmla="*/ 0 h 5895642"/>
              <a:gd name="connsiteX3" fmla="*/ 12216794 w 12217601"/>
              <a:gd name="connsiteY3" fmla="*/ 4778 h 5895642"/>
              <a:gd name="connsiteX4" fmla="*/ 12216794 w 12217601"/>
              <a:gd name="connsiteY4" fmla="*/ 5895642 h 5895642"/>
              <a:gd name="connsiteX5" fmla="*/ 8903497 w 12217601"/>
              <a:gd name="connsiteY5" fmla="*/ 5895642 h 5895642"/>
              <a:gd name="connsiteX6" fmla="*/ 8392859 w 12217601"/>
              <a:gd name="connsiteY6" fmla="*/ 3537803 h 5895642"/>
              <a:gd name="connsiteX0" fmla="*/ 7288454 w 12217601"/>
              <a:gd name="connsiteY0" fmla="*/ 4007702 h 5895642"/>
              <a:gd name="connsiteX1" fmla="*/ 14314 w 12217601"/>
              <a:gd name="connsiteY1" fmla="*/ 3434391 h 5895642"/>
              <a:gd name="connsiteX2" fmla="*/ 0 w 12217601"/>
              <a:gd name="connsiteY2" fmla="*/ 0 h 5895642"/>
              <a:gd name="connsiteX3" fmla="*/ 12216794 w 12217601"/>
              <a:gd name="connsiteY3" fmla="*/ 4778 h 5895642"/>
              <a:gd name="connsiteX4" fmla="*/ 12216794 w 12217601"/>
              <a:gd name="connsiteY4" fmla="*/ 5895642 h 5895642"/>
              <a:gd name="connsiteX5" fmla="*/ 8903497 w 12217601"/>
              <a:gd name="connsiteY5" fmla="*/ 5895642 h 5895642"/>
              <a:gd name="connsiteX6" fmla="*/ 7288454 w 12217601"/>
              <a:gd name="connsiteY6" fmla="*/ 4007702 h 5895642"/>
              <a:gd name="connsiteX0" fmla="*/ 7288454 w 12217601"/>
              <a:gd name="connsiteY0" fmla="*/ 4007702 h 5907538"/>
              <a:gd name="connsiteX1" fmla="*/ 14314 w 12217601"/>
              <a:gd name="connsiteY1" fmla="*/ 3434391 h 5907538"/>
              <a:gd name="connsiteX2" fmla="*/ 0 w 12217601"/>
              <a:gd name="connsiteY2" fmla="*/ 0 h 5907538"/>
              <a:gd name="connsiteX3" fmla="*/ 12216794 w 12217601"/>
              <a:gd name="connsiteY3" fmla="*/ 4778 h 5907538"/>
              <a:gd name="connsiteX4" fmla="*/ 12216794 w 12217601"/>
              <a:gd name="connsiteY4" fmla="*/ 5895642 h 5907538"/>
              <a:gd name="connsiteX5" fmla="*/ 9170691 w 12217601"/>
              <a:gd name="connsiteY5" fmla="*/ 5907538 h 5907538"/>
              <a:gd name="connsiteX6" fmla="*/ 7288454 w 12217601"/>
              <a:gd name="connsiteY6" fmla="*/ 4007702 h 5907538"/>
              <a:gd name="connsiteX0" fmla="*/ 7288454 w 12217601"/>
              <a:gd name="connsiteY0" fmla="*/ 4007702 h 5895642"/>
              <a:gd name="connsiteX1" fmla="*/ 14314 w 12217601"/>
              <a:gd name="connsiteY1" fmla="*/ 3434391 h 5895642"/>
              <a:gd name="connsiteX2" fmla="*/ 0 w 12217601"/>
              <a:gd name="connsiteY2" fmla="*/ 0 h 5895642"/>
              <a:gd name="connsiteX3" fmla="*/ 12216794 w 12217601"/>
              <a:gd name="connsiteY3" fmla="*/ 4778 h 5895642"/>
              <a:gd name="connsiteX4" fmla="*/ 12216794 w 12217601"/>
              <a:gd name="connsiteY4" fmla="*/ 5895642 h 5895642"/>
              <a:gd name="connsiteX5" fmla="*/ 8927247 w 12217601"/>
              <a:gd name="connsiteY5" fmla="*/ 5746940 h 5895642"/>
              <a:gd name="connsiteX6" fmla="*/ 7288454 w 12217601"/>
              <a:gd name="connsiteY6" fmla="*/ 4007702 h 5895642"/>
              <a:gd name="connsiteX0" fmla="*/ 7288454 w 12217601"/>
              <a:gd name="connsiteY0" fmla="*/ 4007702 h 5901590"/>
              <a:gd name="connsiteX1" fmla="*/ 14314 w 12217601"/>
              <a:gd name="connsiteY1" fmla="*/ 3434391 h 5901590"/>
              <a:gd name="connsiteX2" fmla="*/ 0 w 12217601"/>
              <a:gd name="connsiteY2" fmla="*/ 0 h 5901590"/>
              <a:gd name="connsiteX3" fmla="*/ 12216794 w 12217601"/>
              <a:gd name="connsiteY3" fmla="*/ 4778 h 5901590"/>
              <a:gd name="connsiteX4" fmla="*/ 12216794 w 12217601"/>
              <a:gd name="connsiteY4" fmla="*/ 5895642 h 5901590"/>
              <a:gd name="connsiteX5" fmla="*/ 8933185 w 12217601"/>
              <a:gd name="connsiteY5" fmla="*/ 5901590 h 5901590"/>
              <a:gd name="connsiteX6" fmla="*/ 7288454 w 12217601"/>
              <a:gd name="connsiteY6" fmla="*/ 4007702 h 5901590"/>
              <a:gd name="connsiteX0" fmla="*/ 7288454 w 12217601"/>
              <a:gd name="connsiteY0" fmla="*/ 4007702 h 6110185"/>
              <a:gd name="connsiteX1" fmla="*/ 14314 w 12217601"/>
              <a:gd name="connsiteY1" fmla="*/ 3434391 h 6110185"/>
              <a:gd name="connsiteX2" fmla="*/ 0 w 12217601"/>
              <a:gd name="connsiteY2" fmla="*/ 0 h 6110185"/>
              <a:gd name="connsiteX3" fmla="*/ 12216794 w 12217601"/>
              <a:gd name="connsiteY3" fmla="*/ 4778 h 6110185"/>
              <a:gd name="connsiteX4" fmla="*/ 12216794 w 12217601"/>
              <a:gd name="connsiteY4" fmla="*/ 5895642 h 6110185"/>
              <a:gd name="connsiteX5" fmla="*/ 9105201 w 12217601"/>
              <a:gd name="connsiteY5" fmla="*/ 6110185 h 6110185"/>
              <a:gd name="connsiteX6" fmla="*/ 7288454 w 12217601"/>
              <a:gd name="connsiteY6" fmla="*/ 4007702 h 6110185"/>
              <a:gd name="connsiteX0" fmla="*/ 7288454 w 12226204"/>
              <a:gd name="connsiteY0" fmla="*/ 4007702 h 6113306"/>
              <a:gd name="connsiteX1" fmla="*/ 14314 w 12226204"/>
              <a:gd name="connsiteY1" fmla="*/ 3434391 h 6113306"/>
              <a:gd name="connsiteX2" fmla="*/ 0 w 12226204"/>
              <a:gd name="connsiteY2" fmla="*/ 0 h 6113306"/>
              <a:gd name="connsiteX3" fmla="*/ 12216794 w 12226204"/>
              <a:gd name="connsiteY3" fmla="*/ 4778 h 6113306"/>
              <a:gd name="connsiteX4" fmla="*/ 12225848 w 12226204"/>
              <a:gd name="connsiteY4" fmla="*/ 6113306 h 6113306"/>
              <a:gd name="connsiteX5" fmla="*/ 9105201 w 12226204"/>
              <a:gd name="connsiteY5" fmla="*/ 6110185 h 6113306"/>
              <a:gd name="connsiteX6" fmla="*/ 7288454 w 12226204"/>
              <a:gd name="connsiteY6" fmla="*/ 4007702 h 6113306"/>
              <a:gd name="connsiteX0" fmla="*/ 7288454 w 12225848"/>
              <a:gd name="connsiteY0" fmla="*/ 4007702 h 6113306"/>
              <a:gd name="connsiteX1" fmla="*/ 14314 w 12225848"/>
              <a:gd name="connsiteY1" fmla="*/ 3434391 h 6113306"/>
              <a:gd name="connsiteX2" fmla="*/ 0 w 12225848"/>
              <a:gd name="connsiteY2" fmla="*/ 0 h 6113306"/>
              <a:gd name="connsiteX3" fmla="*/ 12216794 w 12225848"/>
              <a:gd name="connsiteY3" fmla="*/ 4778 h 6113306"/>
              <a:gd name="connsiteX4" fmla="*/ 12225848 w 12225848"/>
              <a:gd name="connsiteY4" fmla="*/ 6113306 h 6113306"/>
              <a:gd name="connsiteX5" fmla="*/ 9105201 w 12225848"/>
              <a:gd name="connsiteY5" fmla="*/ 6110185 h 6113306"/>
              <a:gd name="connsiteX6" fmla="*/ 7288454 w 12225848"/>
              <a:gd name="connsiteY6" fmla="*/ 4007702 h 6113306"/>
              <a:gd name="connsiteX0" fmla="*/ 7288454 w 12225848"/>
              <a:gd name="connsiteY0" fmla="*/ 4007702 h 6113306"/>
              <a:gd name="connsiteX1" fmla="*/ 14314 w 12225848"/>
              <a:gd name="connsiteY1" fmla="*/ 3434391 h 6113306"/>
              <a:gd name="connsiteX2" fmla="*/ 0 w 12225848"/>
              <a:gd name="connsiteY2" fmla="*/ 0 h 6113306"/>
              <a:gd name="connsiteX3" fmla="*/ 12216794 w 12225848"/>
              <a:gd name="connsiteY3" fmla="*/ 4778 h 6113306"/>
              <a:gd name="connsiteX4" fmla="*/ 12225848 w 12225848"/>
              <a:gd name="connsiteY4" fmla="*/ 6113306 h 6113306"/>
              <a:gd name="connsiteX5" fmla="*/ 9105201 w 12225848"/>
              <a:gd name="connsiteY5" fmla="*/ 6110185 h 6113306"/>
              <a:gd name="connsiteX6" fmla="*/ 7288454 w 12225848"/>
              <a:gd name="connsiteY6" fmla="*/ 4007702 h 6113306"/>
              <a:gd name="connsiteX0" fmla="*/ 7288454 w 12225848"/>
              <a:gd name="connsiteY0" fmla="*/ 4007702 h 6397016"/>
              <a:gd name="connsiteX1" fmla="*/ 14314 w 12225848"/>
              <a:gd name="connsiteY1" fmla="*/ 3434391 h 6397016"/>
              <a:gd name="connsiteX2" fmla="*/ 0 w 12225848"/>
              <a:gd name="connsiteY2" fmla="*/ 0 h 6397016"/>
              <a:gd name="connsiteX3" fmla="*/ 12216794 w 12225848"/>
              <a:gd name="connsiteY3" fmla="*/ 4778 h 6397016"/>
              <a:gd name="connsiteX4" fmla="*/ 12225848 w 12225848"/>
              <a:gd name="connsiteY4" fmla="*/ 6113306 h 6397016"/>
              <a:gd name="connsiteX5" fmla="*/ 9363819 w 12225848"/>
              <a:gd name="connsiteY5" fmla="*/ 6397016 h 6397016"/>
              <a:gd name="connsiteX6" fmla="*/ 7288454 w 12225848"/>
              <a:gd name="connsiteY6" fmla="*/ 4007702 h 6397016"/>
              <a:gd name="connsiteX0" fmla="*/ 7288454 w 12225848"/>
              <a:gd name="connsiteY0" fmla="*/ 4007702 h 6113306"/>
              <a:gd name="connsiteX1" fmla="*/ 14314 w 12225848"/>
              <a:gd name="connsiteY1" fmla="*/ 3434391 h 6113306"/>
              <a:gd name="connsiteX2" fmla="*/ 0 w 12225848"/>
              <a:gd name="connsiteY2" fmla="*/ 0 h 6113306"/>
              <a:gd name="connsiteX3" fmla="*/ 12216794 w 12225848"/>
              <a:gd name="connsiteY3" fmla="*/ 4778 h 6113306"/>
              <a:gd name="connsiteX4" fmla="*/ 12225848 w 12225848"/>
              <a:gd name="connsiteY4" fmla="*/ 6113306 h 6113306"/>
              <a:gd name="connsiteX5" fmla="*/ 9115846 w 12225848"/>
              <a:gd name="connsiteY5" fmla="*/ 6109794 h 6113306"/>
              <a:gd name="connsiteX6" fmla="*/ 7288454 w 12225848"/>
              <a:gd name="connsiteY6" fmla="*/ 4007702 h 6113306"/>
              <a:gd name="connsiteX0" fmla="*/ 7288454 w 12233597"/>
              <a:gd name="connsiteY0" fmla="*/ 4007702 h 6109794"/>
              <a:gd name="connsiteX1" fmla="*/ 14314 w 12233597"/>
              <a:gd name="connsiteY1" fmla="*/ 3434391 h 6109794"/>
              <a:gd name="connsiteX2" fmla="*/ 0 w 12233597"/>
              <a:gd name="connsiteY2" fmla="*/ 0 h 6109794"/>
              <a:gd name="connsiteX3" fmla="*/ 12216794 w 12233597"/>
              <a:gd name="connsiteY3" fmla="*/ 4778 h 6109794"/>
              <a:gd name="connsiteX4" fmla="*/ 12233597 w 12233597"/>
              <a:gd name="connsiteY4" fmla="*/ 5663067 h 6109794"/>
              <a:gd name="connsiteX5" fmla="*/ 9115846 w 12233597"/>
              <a:gd name="connsiteY5" fmla="*/ 6109794 h 6109794"/>
              <a:gd name="connsiteX6" fmla="*/ 7288454 w 12233597"/>
              <a:gd name="connsiteY6" fmla="*/ 4007702 h 6109794"/>
              <a:gd name="connsiteX0" fmla="*/ 5499759 w 12233597"/>
              <a:gd name="connsiteY0" fmla="*/ 3863070 h 6109794"/>
              <a:gd name="connsiteX1" fmla="*/ 14314 w 12233597"/>
              <a:gd name="connsiteY1" fmla="*/ 3434391 h 6109794"/>
              <a:gd name="connsiteX2" fmla="*/ 0 w 12233597"/>
              <a:gd name="connsiteY2" fmla="*/ 0 h 6109794"/>
              <a:gd name="connsiteX3" fmla="*/ 12216794 w 12233597"/>
              <a:gd name="connsiteY3" fmla="*/ 4778 h 6109794"/>
              <a:gd name="connsiteX4" fmla="*/ 12233597 w 12233597"/>
              <a:gd name="connsiteY4" fmla="*/ 5663067 h 6109794"/>
              <a:gd name="connsiteX5" fmla="*/ 9115846 w 12233597"/>
              <a:gd name="connsiteY5" fmla="*/ 6109794 h 6109794"/>
              <a:gd name="connsiteX6" fmla="*/ 5499759 w 12233597"/>
              <a:gd name="connsiteY6" fmla="*/ 3863070 h 6109794"/>
              <a:gd name="connsiteX0" fmla="*/ 5499759 w 12233597"/>
              <a:gd name="connsiteY0" fmla="*/ 3863070 h 6109794"/>
              <a:gd name="connsiteX1" fmla="*/ 14314 w 12233597"/>
              <a:gd name="connsiteY1" fmla="*/ 3434391 h 6109794"/>
              <a:gd name="connsiteX2" fmla="*/ 0 w 12233597"/>
              <a:gd name="connsiteY2" fmla="*/ 0 h 6109794"/>
              <a:gd name="connsiteX3" fmla="*/ 12216794 w 12233597"/>
              <a:gd name="connsiteY3" fmla="*/ 4778 h 6109794"/>
              <a:gd name="connsiteX4" fmla="*/ 12233597 w 12233597"/>
              <a:gd name="connsiteY4" fmla="*/ 5663067 h 6109794"/>
              <a:gd name="connsiteX5" fmla="*/ 6380667 w 12233597"/>
              <a:gd name="connsiteY5" fmla="*/ 6109794 h 6109794"/>
              <a:gd name="connsiteX6" fmla="*/ 5499759 w 12233597"/>
              <a:gd name="connsiteY6" fmla="*/ 3863070 h 6109794"/>
              <a:gd name="connsiteX0" fmla="*/ 5499759 w 12233597"/>
              <a:gd name="connsiteY0" fmla="*/ 3863070 h 6109794"/>
              <a:gd name="connsiteX1" fmla="*/ 6293 w 12233597"/>
              <a:gd name="connsiteY1" fmla="*/ 3755796 h 6109794"/>
              <a:gd name="connsiteX2" fmla="*/ 0 w 12233597"/>
              <a:gd name="connsiteY2" fmla="*/ 0 h 6109794"/>
              <a:gd name="connsiteX3" fmla="*/ 12216794 w 12233597"/>
              <a:gd name="connsiteY3" fmla="*/ 4778 h 6109794"/>
              <a:gd name="connsiteX4" fmla="*/ 12233597 w 12233597"/>
              <a:gd name="connsiteY4" fmla="*/ 5663067 h 6109794"/>
              <a:gd name="connsiteX5" fmla="*/ 6380667 w 12233597"/>
              <a:gd name="connsiteY5" fmla="*/ 6109794 h 6109794"/>
              <a:gd name="connsiteX6" fmla="*/ 5499759 w 12233597"/>
              <a:gd name="connsiteY6" fmla="*/ 3863070 h 6109794"/>
              <a:gd name="connsiteX0" fmla="*/ 5692264 w 12233597"/>
              <a:gd name="connsiteY0" fmla="*/ 4361249 h 6109794"/>
              <a:gd name="connsiteX1" fmla="*/ 6293 w 12233597"/>
              <a:gd name="connsiteY1" fmla="*/ 3755796 h 6109794"/>
              <a:gd name="connsiteX2" fmla="*/ 0 w 12233597"/>
              <a:gd name="connsiteY2" fmla="*/ 0 h 6109794"/>
              <a:gd name="connsiteX3" fmla="*/ 12216794 w 12233597"/>
              <a:gd name="connsiteY3" fmla="*/ 4778 h 6109794"/>
              <a:gd name="connsiteX4" fmla="*/ 12233597 w 12233597"/>
              <a:gd name="connsiteY4" fmla="*/ 5663067 h 6109794"/>
              <a:gd name="connsiteX5" fmla="*/ 6380667 w 12233597"/>
              <a:gd name="connsiteY5" fmla="*/ 6109794 h 6109794"/>
              <a:gd name="connsiteX6" fmla="*/ 5692264 w 12233597"/>
              <a:gd name="connsiteY6" fmla="*/ 4361249 h 6109794"/>
              <a:gd name="connsiteX0" fmla="*/ 5692264 w 12233597"/>
              <a:gd name="connsiteY0" fmla="*/ 4361249 h 6262461"/>
              <a:gd name="connsiteX1" fmla="*/ 6293 w 12233597"/>
              <a:gd name="connsiteY1" fmla="*/ 3755796 h 6262461"/>
              <a:gd name="connsiteX2" fmla="*/ 0 w 12233597"/>
              <a:gd name="connsiteY2" fmla="*/ 0 h 6262461"/>
              <a:gd name="connsiteX3" fmla="*/ 12216794 w 12233597"/>
              <a:gd name="connsiteY3" fmla="*/ 4778 h 6262461"/>
              <a:gd name="connsiteX4" fmla="*/ 12233597 w 12233597"/>
              <a:gd name="connsiteY4" fmla="*/ 5663067 h 6262461"/>
              <a:gd name="connsiteX5" fmla="*/ 6140035 w 12233597"/>
              <a:gd name="connsiteY5" fmla="*/ 6262461 h 6262461"/>
              <a:gd name="connsiteX6" fmla="*/ 5692264 w 12233597"/>
              <a:gd name="connsiteY6" fmla="*/ 4361249 h 6262461"/>
              <a:gd name="connsiteX0" fmla="*/ 5692264 w 12216794"/>
              <a:gd name="connsiteY0" fmla="*/ 4361249 h 6262461"/>
              <a:gd name="connsiteX1" fmla="*/ 6293 w 12216794"/>
              <a:gd name="connsiteY1" fmla="*/ 3755796 h 6262461"/>
              <a:gd name="connsiteX2" fmla="*/ 0 w 12216794"/>
              <a:gd name="connsiteY2" fmla="*/ 0 h 6262461"/>
              <a:gd name="connsiteX3" fmla="*/ 12216794 w 12216794"/>
              <a:gd name="connsiteY3" fmla="*/ 4778 h 6262461"/>
              <a:gd name="connsiteX4" fmla="*/ 12193492 w 12216794"/>
              <a:gd name="connsiteY4" fmla="*/ 5494330 h 6262461"/>
              <a:gd name="connsiteX5" fmla="*/ 6140035 w 12216794"/>
              <a:gd name="connsiteY5" fmla="*/ 6262461 h 6262461"/>
              <a:gd name="connsiteX6" fmla="*/ 5692264 w 12216794"/>
              <a:gd name="connsiteY6" fmla="*/ 4361249 h 6262461"/>
              <a:gd name="connsiteX0" fmla="*/ 5692264 w 12216794"/>
              <a:gd name="connsiteY0" fmla="*/ 4361249 h 6262461"/>
              <a:gd name="connsiteX1" fmla="*/ 6293 w 12216794"/>
              <a:gd name="connsiteY1" fmla="*/ 3755796 h 6262461"/>
              <a:gd name="connsiteX2" fmla="*/ 0 w 12216794"/>
              <a:gd name="connsiteY2" fmla="*/ 0 h 6262461"/>
              <a:gd name="connsiteX3" fmla="*/ 12216794 w 12216794"/>
              <a:gd name="connsiteY3" fmla="*/ 4778 h 6262461"/>
              <a:gd name="connsiteX4" fmla="*/ 12193492 w 12216794"/>
              <a:gd name="connsiteY4" fmla="*/ 5630928 h 6262461"/>
              <a:gd name="connsiteX5" fmla="*/ 6140035 w 12216794"/>
              <a:gd name="connsiteY5" fmla="*/ 6262461 h 6262461"/>
              <a:gd name="connsiteX6" fmla="*/ 5692264 w 12216794"/>
              <a:gd name="connsiteY6" fmla="*/ 4361249 h 6262461"/>
              <a:gd name="connsiteX0" fmla="*/ 5692264 w 12217555"/>
              <a:gd name="connsiteY0" fmla="*/ 4361249 h 6262461"/>
              <a:gd name="connsiteX1" fmla="*/ 6293 w 12217555"/>
              <a:gd name="connsiteY1" fmla="*/ 3755796 h 6262461"/>
              <a:gd name="connsiteX2" fmla="*/ 0 w 12217555"/>
              <a:gd name="connsiteY2" fmla="*/ 0 h 6262461"/>
              <a:gd name="connsiteX3" fmla="*/ 12216794 w 12217555"/>
              <a:gd name="connsiteY3" fmla="*/ 4778 h 6262461"/>
              <a:gd name="connsiteX4" fmla="*/ 12217555 w 12217555"/>
              <a:gd name="connsiteY4" fmla="*/ 5630928 h 6262461"/>
              <a:gd name="connsiteX5" fmla="*/ 6140035 w 12217555"/>
              <a:gd name="connsiteY5" fmla="*/ 6262461 h 6262461"/>
              <a:gd name="connsiteX6" fmla="*/ 5692264 w 12217555"/>
              <a:gd name="connsiteY6" fmla="*/ 4361249 h 6262461"/>
              <a:gd name="connsiteX0" fmla="*/ 5692264 w 12217555"/>
              <a:gd name="connsiteY0" fmla="*/ 4361249 h 6262461"/>
              <a:gd name="connsiteX1" fmla="*/ 6293 w 12217555"/>
              <a:gd name="connsiteY1" fmla="*/ 3755796 h 6262461"/>
              <a:gd name="connsiteX2" fmla="*/ 0 w 12217555"/>
              <a:gd name="connsiteY2" fmla="*/ 0 h 6262461"/>
              <a:gd name="connsiteX3" fmla="*/ 12216794 w 12217555"/>
              <a:gd name="connsiteY3" fmla="*/ 4778 h 6262461"/>
              <a:gd name="connsiteX4" fmla="*/ 12217555 w 12217555"/>
              <a:gd name="connsiteY4" fmla="*/ 5630928 h 6262461"/>
              <a:gd name="connsiteX5" fmla="*/ 6140035 w 12217555"/>
              <a:gd name="connsiteY5" fmla="*/ 6262461 h 6262461"/>
              <a:gd name="connsiteX6" fmla="*/ 5692264 w 12217555"/>
              <a:gd name="connsiteY6" fmla="*/ 4361249 h 6262461"/>
              <a:gd name="connsiteX0" fmla="*/ 5692264 w 12224815"/>
              <a:gd name="connsiteY0" fmla="*/ 4364506 h 6265718"/>
              <a:gd name="connsiteX1" fmla="*/ 6293 w 12224815"/>
              <a:gd name="connsiteY1" fmla="*/ 3759053 h 6265718"/>
              <a:gd name="connsiteX2" fmla="*/ 0 w 12224815"/>
              <a:gd name="connsiteY2" fmla="*/ 3257 h 6265718"/>
              <a:gd name="connsiteX3" fmla="*/ 12224815 w 12224815"/>
              <a:gd name="connsiteY3" fmla="*/ 0 h 6265718"/>
              <a:gd name="connsiteX4" fmla="*/ 12217555 w 12224815"/>
              <a:gd name="connsiteY4" fmla="*/ 5634185 h 6265718"/>
              <a:gd name="connsiteX5" fmla="*/ 6140035 w 12224815"/>
              <a:gd name="connsiteY5" fmla="*/ 6265718 h 6265718"/>
              <a:gd name="connsiteX6" fmla="*/ 5692264 w 12224815"/>
              <a:gd name="connsiteY6" fmla="*/ 4364506 h 6265718"/>
              <a:gd name="connsiteX0" fmla="*/ 5692264 w 12224815"/>
              <a:gd name="connsiteY0" fmla="*/ 4364506 h 6134861"/>
              <a:gd name="connsiteX1" fmla="*/ 6293 w 12224815"/>
              <a:gd name="connsiteY1" fmla="*/ 3759053 h 6134861"/>
              <a:gd name="connsiteX2" fmla="*/ 0 w 12224815"/>
              <a:gd name="connsiteY2" fmla="*/ 3257 h 6134861"/>
              <a:gd name="connsiteX3" fmla="*/ 12224815 w 12224815"/>
              <a:gd name="connsiteY3" fmla="*/ 0 h 6134861"/>
              <a:gd name="connsiteX4" fmla="*/ 12217555 w 12224815"/>
              <a:gd name="connsiteY4" fmla="*/ 5634185 h 6134861"/>
              <a:gd name="connsiteX5" fmla="*/ 6125521 w 12224815"/>
              <a:gd name="connsiteY5" fmla="*/ 6134861 h 6134861"/>
              <a:gd name="connsiteX6" fmla="*/ 5692264 w 12224815"/>
              <a:gd name="connsiteY6" fmla="*/ 4364506 h 6134861"/>
              <a:gd name="connsiteX0" fmla="*/ 5837407 w 12224815"/>
              <a:gd name="connsiteY0" fmla="*/ 4800699 h 6134861"/>
              <a:gd name="connsiteX1" fmla="*/ 6293 w 12224815"/>
              <a:gd name="connsiteY1" fmla="*/ 3759053 h 6134861"/>
              <a:gd name="connsiteX2" fmla="*/ 0 w 12224815"/>
              <a:gd name="connsiteY2" fmla="*/ 3257 h 6134861"/>
              <a:gd name="connsiteX3" fmla="*/ 12224815 w 12224815"/>
              <a:gd name="connsiteY3" fmla="*/ 0 h 6134861"/>
              <a:gd name="connsiteX4" fmla="*/ 12217555 w 12224815"/>
              <a:gd name="connsiteY4" fmla="*/ 5634185 h 6134861"/>
              <a:gd name="connsiteX5" fmla="*/ 6125521 w 12224815"/>
              <a:gd name="connsiteY5" fmla="*/ 6134861 h 6134861"/>
              <a:gd name="connsiteX6" fmla="*/ 5837407 w 12224815"/>
              <a:gd name="connsiteY6" fmla="*/ 4800699 h 6134861"/>
              <a:gd name="connsiteX0" fmla="*/ 5837407 w 12224815"/>
              <a:gd name="connsiteY0" fmla="*/ 4800699 h 6134861"/>
              <a:gd name="connsiteX1" fmla="*/ 6293 w 12224815"/>
              <a:gd name="connsiteY1" fmla="*/ 3759053 h 6134861"/>
              <a:gd name="connsiteX2" fmla="*/ 0 w 12224815"/>
              <a:gd name="connsiteY2" fmla="*/ 3257 h 6134861"/>
              <a:gd name="connsiteX3" fmla="*/ 12224815 w 12224815"/>
              <a:gd name="connsiteY3" fmla="*/ 0 h 6134861"/>
              <a:gd name="connsiteX4" fmla="*/ 12217555 w 12224815"/>
              <a:gd name="connsiteY4" fmla="*/ 5634185 h 6134861"/>
              <a:gd name="connsiteX5" fmla="*/ 6401292 w 12224815"/>
              <a:gd name="connsiteY5" fmla="*/ 6134861 h 6134861"/>
              <a:gd name="connsiteX6" fmla="*/ 5837407 w 12224815"/>
              <a:gd name="connsiteY6" fmla="*/ 4800699 h 6134861"/>
              <a:gd name="connsiteX0" fmla="*/ 5837407 w 12224815"/>
              <a:gd name="connsiteY0" fmla="*/ 4800699 h 6134861"/>
              <a:gd name="connsiteX1" fmla="*/ 20808 w 12224815"/>
              <a:gd name="connsiteY1" fmla="*/ 4704138 h 6134861"/>
              <a:gd name="connsiteX2" fmla="*/ 0 w 12224815"/>
              <a:gd name="connsiteY2" fmla="*/ 3257 h 6134861"/>
              <a:gd name="connsiteX3" fmla="*/ 12224815 w 12224815"/>
              <a:gd name="connsiteY3" fmla="*/ 0 h 6134861"/>
              <a:gd name="connsiteX4" fmla="*/ 12217555 w 12224815"/>
              <a:gd name="connsiteY4" fmla="*/ 5634185 h 6134861"/>
              <a:gd name="connsiteX5" fmla="*/ 6401292 w 12224815"/>
              <a:gd name="connsiteY5" fmla="*/ 6134861 h 6134861"/>
              <a:gd name="connsiteX6" fmla="*/ 5837407 w 12224815"/>
              <a:gd name="connsiteY6" fmla="*/ 4800699 h 6134861"/>
              <a:gd name="connsiteX0" fmla="*/ 5837407 w 12224815"/>
              <a:gd name="connsiteY0" fmla="*/ 4800699 h 6134861"/>
              <a:gd name="connsiteX1" fmla="*/ 20808 w 12224815"/>
              <a:gd name="connsiteY1" fmla="*/ 4500581 h 6134861"/>
              <a:gd name="connsiteX2" fmla="*/ 0 w 12224815"/>
              <a:gd name="connsiteY2" fmla="*/ 3257 h 6134861"/>
              <a:gd name="connsiteX3" fmla="*/ 12224815 w 12224815"/>
              <a:gd name="connsiteY3" fmla="*/ 0 h 6134861"/>
              <a:gd name="connsiteX4" fmla="*/ 12217555 w 12224815"/>
              <a:gd name="connsiteY4" fmla="*/ 5634185 h 6134861"/>
              <a:gd name="connsiteX5" fmla="*/ 6401292 w 12224815"/>
              <a:gd name="connsiteY5" fmla="*/ 6134861 h 6134861"/>
              <a:gd name="connsiteX6" fmla="*/ 5837407 w 12224815"/>
              <a:gd name="connsiteY6" fmla="*/ 4800699 h 6134861"/>
              <a:gd name="connsiteX0" fmla="*/ 5808378 w 12224815"/>
              <a:gd name="connsiteY0" fmla="*/ 5076955 h 6134861"/>
              <a:gd name="connsiteX1" fmla="*/ 20808 w 12224815"/>
              <a:gd name="connsiteY1" fmla="*/ 4500581 h 6134861"/>
              <a:gd name="connsiteX2" fmla="*/ 0 w 12224815"/>
              <a:gd name="connsiteY2" fmla="*/ 3257 h 6134861"/>
              <a:gd name="connsiteX3" fmla="*/ 12224815 w 12224815"/>
              <a:gd name="connsiteY3" fmla="*/ 0 h 6134861"/>
              <a:gd name="connsiteX4" fmla="*/ 12217555 w 12224815"/>
              <a:gd name="connsiteY4" fmla="*/ 5634185 h 6134861"/>
              <a:gd name="connsiteX5" fmla="*/ 6401292 w 12224815"/>
              <a:gd name="connsiteY5" fmla="*/ 6134861 h 6134861"/>
              <a:gd name="connsiteX6" fmla="*/ 5808378 w 12224815"/>
              <a:gd name="connsiteY6" fmla="*/ 5076955 h 6134861"/>
              <a:gd name="connsiteX0" fmla="*/ 5808378 w 12224815"/>
              <a:gd name="connsiteY0" fmla="*/ 5076955 h 6134861"/>
              <a:gd name="connsiteX1" fmla="*/ 20808 w 12224815"/>
              <a:gd name="connsiteY1" fmla="*/ 4500581 h 6134861"/>
              <a:gd name="connsiteX2" fmla="*/ 0 w 12224815"/>
              <a:gd name="connsiteY2" fmla="*/ 3257 h 6134861"/>
              <a:gd name="connsiteX3" fmla="*/ 12224815 w 12224815"/>
              <a:gd name="connsiteY3" fmla="*/ 0 h 6134861"/>
              <a:gd name="connsiteX4" fmla="*/ 12217555 w 12224815"/>
              <a:gd name="connsiteY4" fmla="*/ 5634185 h 6134861"/>
              <a:gd name="connsiteX5" fmla="*/ 6401292 w 12224815"/>
              <a:gd name="connsiteY5" fmla="*/ 6134861 h 6134861"/>
              <a:gd name="connsiteX6" fmla="*/ 5808378 w 12224815"/>
              <a:gd name="connsiteY6" fmla="*/ 5076955 h 6134861"/>
              <a:gd name="connsiteX0" fmla="*/ 5808378 w 12224815"/>
              <a:gd name="connsiteY0" fmla="*/ 5076955 h 6134861"/>
              <a:gd name="connsiteX1" fmla="*/ 20808 w 12224815"/>
              <a:gd name="connsiteY1" fmla="*/ 4500581 h 6134861"/>
              <a:gd name="connsiteX2" fmla="*/ 0 w 12224815"/>
              <a:gd name="connsiteY2" fmla="*/ 3257 h 6134861"/>
              <a:gd name="connsiteX3" fmla="*/ 12224815 w 12224815"/>
              <a:gd name="connsiteY3" fmla="*/ 0 h 6134861"/>
              <a:gd name="connsiteX4" fmla="*/ 12217555 w 12224815"/>
              <a:gd name="connsiteY4" fmla="*/ 5634185 h 6134861"/>
              <a:gd name="connsiteX5" fmla="*/ 6401292 w 12224815"/>
              <a:gd name="connsiteY5" fmla="*/ 6134861 h 6134861"/>
              <a:gd name="connsiteX6" fmla="*/ 5808378 w 12224815"/>
              <a:gd name="connsiteY6" fmla="*/ 5076955 h 6134861"/>
              <a:gd name="connsiteX0" fmla="*/ 5808378 w 12224815"/>
              <a:gd name="connsiteY0" fmla="*/ 5076955 h 6134861"/>
              <a:gd name="connsiteX1" fmla="*/ 20808 w 12224815"/>
              <a:gd name="connsiteY1" fmla="*/ 4500581 h 6134861"/>
              <a:gd name="connsiteX2" fmla="*/ 0 w 12224815"/>
              <a:gd name="connsiteY2" fmla="*/ 3257 h 6134861"/>
              <a:gd name="connsiteX3" fmla="*/ 12224815 w 12224815"/>
              <a:gd name="connsiteY3" fmla="*/ 0 h 6134861"/>
              <a:gd name="connsiteX4" fmla="*/ 12217555 w 12224815"/>
              <a:gd name="connsiteY4" fmla="*/ 5634185 h 6134861"/>
              <a:gd name="connsiteX5" fmla="*/ 6401292 w 12224815"/>
              <a:gd name="connsiteY5" fmla="*/ 6134861 h 6134861"/>
              <a:gd name="connsiteX6" fmla="*/ 5808378 w 12224815"/>
              <a:gd name="connsiteY6" fmla="*/ 5076955 h 6134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224815" h="6134861">
                <a:moveTo>
                  <a:pt x="5808378" y="5076955"/>
                </a:moveTo>
                <a:lnTo>
                  <a:pt x="20808" y="4500581"/>
                </a:lnTo>
                <a:cubicBezTo>
                  <a:pt x="10404" y="2251919"/>
                  <a:pt x="4771" y="1148054"/>
                  <a:pt x="0" y="3257"/>
                </a:cubicBezTo>
                <a:lnTo>
                  <a:pt x="12224815" y="0"/>
                </a:lnTo>
                <a:cubicBezTo>
                  <a:pt x="12222019" y="2293588"/>
                  <a:pt x="12213028" y="2579921"/>
                  <a:pt x="12217555" y="5634185"/>
                </a:cubicBezTo>
                <a:lnTo>
                  <a:pt x="6401292" y="6134861"/>
                </a:lnTo>
                <a:lnTo>
                  <a:pt x="5808378" y="5076955"/>
                </a:lnTo>
                <a:close/>
              </a:path>
            </a:pathLst>
          </a:custGeom>
          <a:solidFill>
            <a:schemeClr val="bg2"/>
          </a:solidFill>
        </p:spPr>
        <p:txBody>
          <a:bodyPr numCol="1"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880BFE37-58E9-495E-A195-6B3E849402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7779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880BFE37-58E9-495E-A195-6B3E849402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el 13">
            <a:extLst>
              <a:ext uri="{FF2B5EF4-FFF2-40B4-BE49-F238E27FC236}">
                <a16:creationId xmlns:a16="http://schemas.microsoft.com/office/drawing/2014/main" id="{46915770-A299-8947-989F-045F228D0A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434" y="5229200"/>
            <a:ext cx="4970284" cy="27468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2376746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else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880BFE37-58E9-495E-A195-6B3E849402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8188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880BFE37-58E9-495E-A195-6B3E849402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42738" y="4581128"/>
            <a:ext cx="7665388" cy="1008000"/>
          </a:xfrm>
        </p:spPr>
        <p:txBody>
          <a:bodyPr tIns="108000" anchor="t" anchorCtr="0"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23" name="Bildplatzhalter 12">
            <a:extLst>
              <a:ext uri="{FF2B5EF4-FFF2-40B4-BE49-F238E27FC236}">
                <a16:creationId xmlns:a16="http://schemas.microsoft.com/office/drawing/2014/main" id="{5CBAE015-0B3B-584B-BA87-2F2E6976EC4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0"/>
            <a:ext cx="12192516" cy="6118032"/>
          </a:xfrm>
          <a:custGeom>
            <a:avLst/>
            <a:gdLst>
              <a:gd name="connsiteX0" fmla="*/ 865390 w 12193588"/>
              <a:gd name="connsiteY0" fmla="*/ 0 h 6858000"/>
              <a:gd name="connsiteX1" fmla="*/ 12193588 w 12193588"/>
              <a:gd name="connsiteY1" fmla="*/ 0 h 6858000"/>
              <a:gd name="connsiteX2" fmla="*/ 12193588 w 12193588"/>
              <a:gd name="connsiteY2" fmla="*/ 6858000 h 6858000"/>
              <a:gd name="connsiteX3" fmla="*/ 0 w 12193588"/>
              <a:gd name="connsiteY3" fmla="*/ 6858000 h 6858000"/>
              <a:gd name="connsiteX4" fmla="*/ 0 w 12193588"/>
              <a:gd name="connsiteY4" fmla="*/ 3163701 h 6858000"/>
              <a:gd name="connsiteX5" fmla="*/ 3903195 w 12193588"/>
              <a:gd name="connsiteY5" fmla="*/ 2370151 h 6858000"/>
              <a:gd name="connsiteX6" fmla="*/ 4416724 w 12193588"/>
              <a:gd name="connsiteY6" fmla="*/ 678719 h 6858000"/>
              <a:gd name="connsiteX0" fmla="*/ 865390 w 12193588"/>
              <a:gd name="connsiteY0" fmla="*/ 0 h 6858000"/>
              <a:gd name="connsiteX1" fmla="*/ 12193588 w 12193588"/>
              <a:gd name="connsiteY1" fmla="*/ 0 h 6858000"/>
              <a:gd name="connsiteX2" fmla="*/ 12193588 w 12193588"/>
              <a:gd name="connsiteY2" fmla="*/ 6858000 h 6858000"/>
              <a:gd name="connsiteX3" fmla="*/ 0 w 12193588"/>
              <a:gd name="connsiteY3" fmla="*/ 6858000 h 6858000"/>
              <a:gd name="connsiteX4" fmla="*/ 3305262 w 12193588"/>
              <a:gd name="connsiteY4" fmla="*/ 4338159 h 6858000"/>
              <a:gd name="connsiteX5" fmla="*/ 3903195 w 12193588"/>
              <a:gd name="connsiteY5" fmla="*/ 2370151 h 6858000"/>
              <a:gd name="connsiteX6" fmla="*/ 4416724 w 12193588"/>
              <a:gd name="connsiteY6" fmla="*/ 678719 h 6858000"/>
              <a:gd name="connsiteX7" fmla="*/ 865390 w 12193588"/>
              <a:gd name="connsiteY7" fmla="*/ 0 h 6858000"/>
              <a:gd name="connsiteX0" fmla="*/ 0 w 11328198"/>
              <a:gd name="connsiteY0" fmla="*/ 0 h 6858000"/>
              <a:gd name="connsiteX1" fmla="*/ 11328198 w 11328198"/>
              <a:gd name="connsiteY1" fmla="*/ 0 h 6858000"/>
              <a:gd name="connsiteX2" fmla="*/ 11328198 w 11328198"/>
              <a:gd name="connsiteY2" fmla="*/ 6858000 h 6858000"/>
              <a:gd name="connsiteX3" fmla="*/ 7297098 w 11328198"/>
              <a:gd name="connsiteY3" fmla="*/ 6614719 h 6858000"/>
              <a:gd name="connsiteX4" fmla="*/ 2439872 w 11328198"/>
              <a:gd name="connsiteY4" fmla="*/ 4338159 h 6858000"/>
              <a:gd name="connsiteX5" fmla="*/ 3037805 w 11328198"/>
              <a:gd name="connsiteY5" fmla="*/ 2370151 h 6858000"/>
              <a:gd name="connsiteX6" fmla="*/ 3551334 w 11328198"/>
              <a:gd name="connsiteY6" fmla="*/ 678719 h 6858000"/>
              <a:gd name="connsiteX7" fmla="*/ 0 w 11328198"/>
              <a:gd name="connsiteY7" fmla="*/ 0 h 6858000"/>
              <a:gd name="connsiteX0" fmla="*/ 0 w 11328198"/>
              <a:gd name="connsiteY0" fmla="*/ 0 h 6899944"/>
              <a:gd name="connsiteX1" fmla="*/ 11328198 w 11328198"/>
              <a:gd name="connsiteY1" fmla="*/ 0 h 6899944"/>
              <a:gd name="connsiteX2" fmla="*/ 11328198 w 11328198"/>
              <a:gd name="connsiteY2" fmla="*/ 6858000 h 6899944"/>
              <a:gd name="connsiteX3" fmla="*/ 8891006 w 11328198"/>
              <a:gd name="connsiteY3" fmla="*/ 6899944 h 6899944"/>
              <a:gd name="connsiteX4" fmla="*/ 2439872 w 11328198"/>
              <a:gd name="connsiteY4" fmla="*/ 4338159 h 6899944"/>
              <a:gd name="connsiteX5" fmla="*/ 3037805 w 11328198"/>
              <a:gd name="connsiteY5" fmla="*/ 2370151 h 6899944"/>
              <a:gd name="connsiteX6" fmla="*/ 3551334 w 11328198"/>
              <a:gd name="connsiteY6" fmla="*/ 678719 h 6899944"/>
              <a:gd name="connsiteX7" fmla="*/ 0 w 11328198"/>
              <a:gd name="connsiteY7" fmla="*/ 0 h 6899944"/>
              <a:gd name="connsiteX0" fmla="*/ 0 w 11328198"/>
              <a:gd name="connsiteY0" fmla="*/ 0 h 6899944"/>
              <a:gd name="connsiteX1" fmla="*/ 11328198 w 11328198"/>
              <a:gd name="connsiteY1" fmla="*/ 0 h 6899944"/>
              <a:gd name="connsiteX2" fmla="*/ 11303031 w 11328198"/>
              <a:gd name="connsiteY2" fmla="*/ 6891555 h 6899944"/>
              <a:gd name="connsiteX3" fmla="*/ 8891006 w 11328198"/>
              <a:gd name="connsiteY3" fmla="*/ 6899944 h 6899944"/>
              <a:gd name="connsiteX4" fmla="*/ 2439872 w 11328198"/>
              <a:gd name="connsiteY4" fmla="*/ 4338159 h 6899944"/>
              <a:gd name="connsiteX5" fmla="*/ 3037805 w 11328198"/>
              <a:gd name="connsiteY5" fmla="*/ 2370151 h 6899944"/>
              <a:gd name="connsiteX6" fmla="*/ 3551334 w 11328198"/>
              <a:gd name="connsiteY6" fmla="*/ 678719 h 6899944"/>
              <a:gd name="connsiteX7" fmla="*/ 0 w 11328198"/>
              <a:gd name="connsiteY7" fmla="*/ 0 h 6899944"/>
              <a:gd name="connsiteX0" fmla="*/ 0 w 11328198"/>
              <a:gd name="connsiteY0" fmla="*/ 0 h 6899944"/>
              <a:gd name="connsiteX1" fmla="*/ 11328198 w 11328198"/>
              <a:gd name="connsiteY1" fmla="*/ 0 h 6899944"/>
              <a:gd name="connsiteX2" fmla="*/ 11303031 w 11328198"/>
              <a:gd name="connsiteY2" fmla="*/ 6891555 h 6899944"/>
              <a:gd name="connsiteX3" fmla="*/ 8891006 w 11328198"/>
              <a:gd name="connsiteY3" fmla="*/ 6899944 h 6899944"/>
              <a:gd name="connsiteX4" fmla="*/ 7045428 w 11328198"/>
              <a:gd name="connsiteY4" fmla="*/ 4178768 h 6899944"/>
              <a:gd name="connsiteX5" fmla="*/ 3037805 w 11328198"/>
              <a:gd name="connsiteY5" fmla="*/ 2370151 h 6899944"/>
              <a:gd name="connsiteX6" fmla="*/ 3551334 w 11328198"/>
              <a:gd name="connsiteY6" fmla="*/ 678719 h 6899944"/>
              <a:gd name="connsiteX7" fmla="*/ 0 w 11328198"/>
              <a:gd name="connsiteY7" fmla="*/ 0 h 6899944"/>
              <a:gd name="connsiteX0" fmla="*/ 0 w 11328198"/>
              <a:gd name="connsiteY0" fmla="*/ 0 h 6899944"/>
              <a:gd name="connsiteX1" fmla="*/ 11328198 w 11328198"/>
              <a:gd name="connsiteY1" fmla="*/ 0 h 6899944"/>
              <a:gd name="connsiteX2" fmla="*/ 11303031 w 11328198"/>
              <a:gd name="connsiteY2" fmla="*/ 6891555 h 6899944"/>
              <a:gd name="connsiteX3" fmla="*/ 8891006 w 11328198"/>
              <a:gd name="connsiteY3" fmla="*/ 6899944 h 6899944"/>
              <a:gd name="connsiteX4" fmla="*/ 7288709 w 11328198"/>
              <a:gd name="connsiteY4" fmla="*/ 4640163 h 6899944"/>
              <a:gd name="connsiteX5" fmla="*/ 3037805 w 11328198"/>
              <a:gd name="connsiteY5" fmla="*/ 2370151 h 6899944"/>
              <a:gd name="connsiteX6" fmla="*/ 3551334 w 11328198"/>
              <a:gd name="connsiteY6" fmla="*/ 678719 h 6899944"/>
              <a:gd name="connsiteX7" fmla="*/ 0 w 11328198"/>
              <a:gd name="connsiteY7" fmla="*/ 0 h 6899944"/>
              <a:gd name="connsiteX0" fmla="*/ 871465 w 12199663"/>
              <a:gd name="connsiteY0" fmla="*/ 0 h 6899944"/>
              <a:gd name="connsiteX1" fmla="*/ 12199663 w 12199663"/>
              <a:gd name="connsiteY1" fmla="*/ 0 h 6899944"/>
              <a:gd name="connsiteX2" fmla="*/ 12174496 w 12199663"/>
              <a:gd name="connsiteY2" fmla="*/ 6891555 h 6899944"/>
              <a:gd name="connsiteX3" fmla="*/ 9762471 w 12199663"/>
              <a:gd name="connsiteY3" fmla="*/ 6899944 h 6899944"/>
              <a:gd name="connsiteX4" fmla="*/ 8160174 w 12199663"/>
              <a:gd name="connsiteY4" fmla="*/ 4640163 h 6899944"/>
              <a:gd name="connsiteX5" fmla="*/ 0 w 12199663"/>
              <a:gd name="connsiteY5" fmla="*/ 3469109 h 6899944"/>
              <a:gd name="connsiteX6" fmla="*/ 4422799 w 12199663"/>
              <a:gd name="connsiteY6" fmla="*/ 678719 h 6899944"/>
              <a:gd name="connsiteX7" fmla="*/ 871465 w 12199663"/>
              <a:gd name="connsiteY7" fmla="*/ 0 h 6899944"/>
              <a:gd name="connsiteX0" fmla="*/ 878053 w 12206251"/>
              <a:gd name="connsiteY0" fmla="*/ 789 h 6900733"/>
              <a:gd name="connsiteX1" fmla="*/ 12206251 w 12206251"/>
              <a:gd name="connsiteY1" fmla="*/ 789 h 6900733"/>
              <a:gd name="connsiteX2" fmla="*/ 12181084 w 12206251"/>
              <a:gd name="connsiteY2" fmla="*/ 6892344 h 6900733"/>
              <a:gd name="connsiteX3" fmla="*/ 9769059 w 12206251"/>
              <a:gd name="connsiteY3" fmla="*/ 6900733 h 6900733"/>
              <a:gd name="connsiteX4" fmla="*/ 8166762 w 12206251"/>
              <a:gd name="connsiteY4" fmla="*/ 4640952 h 6900733"/>
              <a:gd name="connsiteX5" fmla="*/ 6588 w 12206251"/>
              <a:gd name="connsiteY5" fmla="*/ 3469898 h 6900733"/>
              <a:gd name="connsiteX6" fmla="*/ 0 w 12206251"/>
              <a:gd name="connsiteY6" fmla="*/ 0 h 6900733"/>
              <a:gd name="connsiteX7" fmla="*/ 878053 w 12206251"/>
              <a:gd name="connsiteY7" fmla="*/ 789 h 6900733"/>
              <a:gd name="connsiteX0" fmla="*/ 8251976 w 12206251"/>
              <a:gd name="connsiteY0" fmla="*/ 1024246 h 6900733"/>
              <a:gd name="connsiteX1" fmla="*/ 12206251 w 12206251"/>
              <a:gd name="connsiteY1" fmla="*/ 789 h 6900733"/>
              <a:gd name="connsiteX2" fmla="*/ 12181084 w 12206251"/>
              <a:gd name="connsiteY2" fmla="*/ 6892344 h 6900733"/>
              <a:gd name="connsiteX3" fmla="*/ 9769059 w 12206251"/>
              <a:gd name="connsiteY3" fmla="*/ 6900733 h 6900733"/>
              <a:gd name="connsiteX4" fmla="*/ 8166762 w 12206251"/>
              <a:gd name="connsiteY4" fmla="*/ 4640952 h 6900733"/>
              <a:gd name="connsiteX5" fmla="*/ 6588 w 12206251"/>
              <a:gd name="connsiteY5" fmla="*/ 3469898 h 6900733"/>
              <a:gd name="connsiteX6" fmla="*/ 0 w 12206251"/>
              <a:gd name="connsiteY6" fmla="*/ 0 h 6900733"/>
              <a:gd name="connsiteX7" fmla="*/ 8251976 w 12206251"/>
              <a:gd name="connsiteY7" fmla="*/ 1024246 h 6900733"/>
              <a:gd name="connsiteX0" fmla="*/ 8251976 w 12181084"/>
              <a:gd name="connsiteY0" fmla="*/ 1024246 h 6900733"/>
              <a:gd name="connsiteX1" fmla="*/ 12038471 w 12181084"/>
              <a:gd name="connsiteY1" fmla="*/ 1988980 h 6900733"/>
              <a:gd name="connsiteX2" fmla="*/ 12181084 w 12181084"/>
              <a:gd name="connsiteY2" fmla="*/ 6892344 h 6900733"/>
              <a:gd name="connsiteX3" fmla="*/ 9769059 w 12181084"/>
              <a:gd name="connsiteY3" fmla="*/ 6900733 h 6900733"/>
              <a:gd name="connsiteX4" fmla="*/ 8166762 w 12181084"/>
              <a:gd name="connsiteY4" fmla="*/ 4640952 h 6900733"/>
              <a:gd name="connsiteX5" fmla="*/ 6588 w 12181084"/>
              <a:gd name="connsiteY5" fmla="*/ 3469898 h 6900733"/>
              <a:gd name="connsiteX6" fmla="*/ 0 w 12181084"/>
              <a:gd name="connsiteY6" fmla="*/ 0 h 6900733"/>
              <a:gd name="connsiteX7" fmla="*/ 8251976 w 12181084"/>
              <a:gd name="connsiteY7" fmla="*/ 1024246 h 6900733"/>
              <a:gd name="connsiteX0" fmla="*/ 8251976 w 12206251"/>
              <a:gd name="connsiteY0" fmla="*/ 1024246 h 6900733"/>
              <a:gd name="connsiteX1" fmla="*/ 12206251 w 12206251"/>
              <a:gd name="connsiteY1" fmla="*/ 1754088 h 6900733"/>
              <a:gd name="connsiteX2" fmla="*/ 12181084 w 12206251"/>
              <a:gd name="connsiteY2" fmla="*/ 6892344 h 6900733"/>
              <a:gd name="connsiteX3" fmla="*/ 9769059 w 12206251"/>
              <a:gd name="connsiteY3" fmla="*/ 6900733 h 6900733"/>
              <a:gd name="connsiteX4" fmla="*/ 8166762 w 12206251"/>
              <a:gd name="connsiteY4" fmla="*/ 4640952 h 6900733"/>
              <a:gd name="connsiteX5" fmla="*/ 6588 w 12206251"/>
              <a:gd name="connsiteY5" fmla="*/ 3469898 h 6900733"/>
              <a:gd name="connsiteX6" fmla="*/ 0 w 12206251"/>
              <a:gd name="connsiteY6" fmla="*/ 0 h 6900733"/>
              <a:gd name="connsiteX7" fmla="*/ 8251976 w 12206251"/>
              <a:gd name="connsiteY7" fmla="*/ 1024246 h 6900733"/>
              <a:gd name="connsiteX0" fmla="*/ 8067418 w 12206251"/>
              <a:gd name="connsiteY0" fmla="*/ 9178 h 6900733"/>
              <a:gd name="connsiteX1" fmla="*/ 12206251 w 12206251"/>
              <a:gd name="connsiteY1" fmla="*/ 1754088 h 6900733"/>
              <a:gd name="connsiteX2" fmla="*/ 12181084 w 12206251"/>
              <a:gd name="connsiteY2" fmla="*/ 6892344 h 6900733"/>
              <a:gd name="connsiteX3" fmla="*/ 9769059 w 12206251"/>
              <a:gd name="connsiteY3" fmla="*/ 6900733 h 6900733"/>
              <a:gd name="connsiteX4" fmla="*/ 8166762 w 12206251"/>
              <a:gd name="connsiteY4" fmla="*/ 4640952 h 6900733"/>
              <a:gd name="connsiteX5" fmla="*/ 6588 w 12206251"/>
              <a:gd name="connsiteY5" fmla="*/ 3469898 h 6900733"/>
              <a:gd name="connsiteX6" fmla="*/ 0 w 12206251"/>
              <a:gd name="connsiteY6" fmla="*/ 0 h 6900733"/>
              <a:gd name="connsiteX7" fmla="*/ 8067418 w 12206251"/>
              <a:gd name="connsiteY7" fmla="*/ 9178 h 6900733"/>
              <a:gd name="connsiteX0" fmla="*/ 8067418 w 12206251"/>
              <a:gd name="connsiteY0" fmla="*/ 9178 h 6900733"/>
              <a:gd name="connsiteX1" fmla="*/ 9223776 w 12206251"/>
              <a:gd name="connsiteY1" fmla="*/ 504129 h 6900733"/>
              <a:gd name="connsiteX2" fmla="*/ 12206251 w 12206251"/>
              <a:gd name="connsiteY2" fmla="*/ 1754088 h 6900733"/>
              <a:gd name="connsiteX3" fmla="*/ 12181084 w 12206251"/>
              <a:gd name="connsiteY3" fmla="*/ 6892344 h 6900733"/>
              <a:gd name="connsiteX4" fmla="*/ 9769059 w 12206251"/>
              <a:gd name="connsiteY4" fmla="*/ 6900733 h 6900733"/>
              <a:gd name="connsiteX5" fmla="*/ 8166762 w 12206251"/>
              <a:gd name="connsiteY5" fmla="*/ 4640952 h 6900733"/>
              <a:gd name="connsiteX6" fmla="*/ 6588 w 12206251"/>
              <a:gd name="connsiteY6" fmla="*/ 3469898 h 6900733"/>
              <a:gd name="connsiteX7" fmla="*/ 0 w 12206251"/>
              <a:gd name="connsiteY7" fmla="*/ 0 h 6900733"/>
              <a:gd name="connsiteX8" fmla="*/ 8067418 w 12206251"/>
              <a:gd name="connsiteY8" fmla="*/ 9178 h 6900733"/>
              <a:gd name="connsiteX0" fmla="*/ 8067418 w 12206251"/>
              <a:gd name="connsiteY0" fmla="*/ 9178 h 6900733"/>
              <a:gd name="connsiteX1" fmla="*/ 8913383 w 12206251"/>
              <a:gd name="connsiteY1" fmla="*/ 1494030 h 6900733"/>
              <a:gd name="connsiteX2" fmla="*/ 12206251 w 12206251"/>
              <a:gd name="connsiteY2" fmla="*/ 1754088 h 6900733"/>
              <a:gd name="connsiteX3" fmla="*/ 12181084 w 12206251"/>
              <a:gd name="connsiteY3" fmla="*/ 6892344 h 6900733"/>
              <a:gd name="connsiteX4" fmla="*/ 9769059 w 12206251"/>
              <a:gd name="connsiteY4" fmla="*/ 6900733 h 6900733"/>
              <a:gd name="connsiteX5" fmla="*/ 8166762 w 12206251"/>
              <a:gd name="connsiteY5" fmla="*/ 4640952 h 6900733"/>
              <a:gd name="connsiteX6" fmla="*/ 6588 w 12206251"/>
              <a:gd name="connsiteY6" fmla="*/ 3469898 h 6900733"/>
              <a:gd name="connsiteX7" fmla="*/ 0 w 12206251"/>
              <a:gd name="connsiteY7" fmla="*/ 0 h 6900733"/>
              <a:gd name="connsiteX8" fmla="*/ 8067418 w 12206251"/>
              <a:gd name="connsiteY8" fmla="*/ 9178 h 6900733"/>
              <a:gd name="connsiteX0" fmla="*/ 8067418 w 12206251"/>
              <a:gd name="connsiteY0" fmla="*/ 9178 h 6900733"/>
              <a:gd name="connsiteX1" fmla="*/ 9173442 w 12206251"/>
              <a:gd name="connsiteY1" fmla="*/ 2173539 h 6900733"/>
              <a:gd name="connsiteX2" fmla="*/ 12206251 w 12206251"/>
              <a:gd name="connsiteY2" fmla="*/ 1754088 h 6900733"/>
              <a:gd name="connsiteX3" fmla="*/ 12181084 w 12206251"/>
              <a:gd name="connsiteY3" fmla="*/ 6892344 h 6900733"/>
              <a:gd name="connsiteX4" fmla="*/ 9769059 w 12206251"/>
              <a:gd name="connsiteY4" fmla="*/ 6900733 h 6900733"/>
              <a:gd name="connsiteX5" fmla="*/ 8166762 w 12206251"/>
              <a:gd name="connsiteY5" fmla="*/ 4640952 h 6900733"/>
              <a:gd name="connsiteX6" fmla="*/ 6588 w 12206251"/>
              <a:gd name="connsiteY6" fmla="*/ 3469898 h 6900733"/>
              <a:gd name="connsiteX7" fmla="*/ 0 w 12206251"/>
              <a:gd name="connsiteY7" fmla="*/ 0 h 6900733"/>
              <a:gd name="connsiteX8" fmla="*/ 8067418 w 12206251"/>
              <a:gd name="connsiteY8" fmla="*/ 9178 h 6900733"/>
              <a:gd name="connsiteX0" fmla="*/ 8067418 w 12206251"/>
              <a:gd name="connsiteY0" fmla="*/ 9178 h 6900733"/>
              <a:gd name="connsiteX1" fmla="*/ 9324444 w 12206251"/>
              <a:gd name="connsiteY1" fmla="*/ 1737311 h 6900733"/>
              <a:gd name="connsiteX2" fmla="*/ 12206251 w 12206251"/>
              <a:gd name="connsiteY2" fmla="*/ 1754088 h 6900733"/>
              <a:gd name="connsiteX3" fmla="*/ 12181084 w 12206251"/>
              <a:gd name="connsiteY3" fmla="*/ 6892344 h 6900733"/>
              <a:gd name="connsiteX4" fmla="*/ 9769059 w 12206251"/>
              <a:gd name="connsiteY4" fmla="*/ 6900733 h 6900733"/>
              <a:gd name="connsiteX5" fmla="*/ 8166762 w 12206251"/>
              <a:gd name="connsiteY5" fmla="*/ 4640952 h 6900733"/>
              <a:gd name="connsiteX6" fmla="*/ 6588 w 12206251"/>
              <a:gd name="connsiteY6" fmla="*/ 3469898 h 6900733"/>
              <a:gd name="connsiteX7" fmla="*/ 0 w 12206251"/>
              <a:gd name="connsiteY7" fmla="*/ 0 h 6900733"/>
              <a:gd name="connsiteX8" fmla="*/ 8067418 w 12206251"/>
              <a:gd name="connsiteY8" fmla="*/ 9178 h 6900733"/>
              <a:gd name="connsiteX0" fmla="*/ 8067418 w 12197862"/>
              <a:gd name="connsiteY0" fmla="*/ 9178 h 6900733"/>
              <a:gd name="connsiteX1" fmla="*/ 9324444 w 12197862"/>
              <a:gd name="connsiteY1" fmla="*/ 1737311 h 6900733"/>
              <a:gd name="connsiteX2" fmla="*/ 12197862 w 12197862"/>
              <a:gd name="connsiteY2" fmla="*/ 1728921 h 6900733"/>
              <a:gd name="connsiteX3" fmla="*/ 12181084 w 12197862"/>
              <a:gd name="connsiteY3" fmla="*/ 6892344 h 6900733"/>
              <a:gd name="connsiteX4" fmla="*/ 9769059 w 12197862"/>
              <a:gd name="connsiteY4" fmla="*/ 6900733 h 6900733"/>
              <a:gd name="connsiteX5" fmla="*/ 8166762 w 12197862"/>
              <a:gd name="connsiteY5" fmla="*/ 4640952 h 6900733"/>
              <a:gd name="connsiteX6" fmla="*/ 6588 w 12197862"/>
              <a:gd name="connsiteY6" fmla="*/ 3469898 h 6900733"/>
              <a:gd name="connsiteX7" fmla="*/ 0 w 12197862"/>
              <a:gd name="connsiteY7" fmla="*/ 0 h 6900733"/>
              <a:gd name="connsiteX8" fmla="*/ 8067418 w 12197862"/>
              <a:gd name="connsiteY8" fmla="*/ 9178 h 6900733"/>
              <a:gd name="connsiteX0" fmla="*/ 8067418 w 12207267"/>
              <a:gd name="connsiteY0" fmla="*/ 9178 h 6900733"/>
              <a:gd name="connsiteX1" fmla="*/ 9324444 w 12207267"/>
              <a:gd name="connsiteY1" fmla="*/ 1737311 h 6900733"/>
              <a:gd name="connsiteX2" fmla="*/ 12197862 w 12207267"/>
              <a:gd name="connsiteY2" fmla="*/ 1728921 h 6900733"/>
              <a:gd name="connsiteX3" fmla="*/ 12206251 w 12207267"/>
              <a:gd name="connsiteY3" fmla="*/ 6892344 h 6900733"/>
              <a:gd name="connsiteX4" fmla="*/ 9769059 w 12207267"/>
              <a:gd name="connsiteY4" fmla="*/ 6900733 h 6900733"/>
              <a:gd name="connsiteX5" fmla="*/ 8166762 w 12207267"/>
              <a:gd name="connsiteY5" fmla="*/ 4640952 h 6900733"/>
              <a:gd name="connsiteX6" fmla="*/ 6588 w 12207267"/>
              <a:gd name="connsiteY6" fmla="*/ 3469898 h 6900733"/>
              <a:gd name="connsiteX7" fmla="*/ 0 w 12207267"/>
              <a:gd name="connsiteY7" fmla="*/ 0 h 6900733"/>
              <a:gd name="connsiteX8" fmla="*/ 8067418 w 12207267"/>
              <a:gd name="connsiteY8" fmla="*/ 9178 h 6900733"/>
              <a:gd name="connsiteX0" fmla="*/ 8067418 w 12207267"/>
              <a:gd name="connsiteY0" fmla="*/ 9178 h 6900733"/>
              <a:gd name="connsiteX1" fmla="*/ 8949690 w 12207267"/>
              <a:gd name="connsiteY1" fmla="*/ 1227645 h 6900733"/>
              <a:gd name="connsiteX2" fmla="*/ 12197862 w 12207267"/>
              <a:gd name="connsiteY2" fmla="*/ 1728921 h 6900733"/>
              <a:gd name="connsiteX3" fmla="*/ 12206251 w 12207267"/>
              <a:gd name="connsiteY3" fmla="*/ 6892344 h 6900733"/>
              <a:gd name="connsiteX4" fmla="*/ 9769059 w 12207267"/>
              <a:gd name="connsiteY4" fmla="*/ 6900733 h 6900733"/>
              <a:gd name="connsiteX5" fmla="*/ 8166762 w 12207267"/>
              <a:gd name="connsiteY5" fmla="*/ 4640952 h 6900733"/>
              <a:gd name="connsiteX6" fmla="*/ 6588 w 12207267"/>
              <a:gd name="connsiteY6" fmla="*/ 3469898 h 6900733"/>
              <a:gd name="connsiteX7" fmla="*/ 0 w 12207267"/>
              <a:gd name="connsiteY7" fmla="*/ 0 h 6900733"/>
              <a:gd name="connsiteX8" fmla="*/ 8067418 w 12207267"/>
              <a:gd name="connsiteY8" fmla="*/ 9178 h 6900733"/>
              <a:gd name="connsiteX0" fmla="*/ 8067418 w 12207016"/>
              <a:gd name="connsiteY0" fmla="*/ 9178 h 6900733"/>
              <a:gd name="connsiteX1" fmla="*/ 8949690 w 12207016"/>
              <a:gd name="connsiteY1" fmla="*/ 1227645 h 6900733"/>
              <a:gd name="connsiteX2" fmla="*/ 12190367 w 12207016"/>
              <a:gd name="connsiteY2" fmla="*/ 1211760 h 6900733"/>
              <a:gd name="connsiteX3" fmla="*/ 12206251 w 12207016"/>
              <a:gd name="connsiteY3" fmla="*/ 6892344 h 6900733"/>
              <a:gd name="connsiteX4" fmla="*/ 9769059 w 12207016"/>
              <a:gd name="connsiteY4" fmla="*/ 6900733 h 6900733"/>
              <a:gd name="connsiteX5" fmla="*/ 8166762 w 12207016"/>
              <a:gd name="connsiteY5" fmla="*/ 4640952 h 6900733"/>
              <a:gd name="connsiteX6" fmla="*/ 6588 w 12207016"/>
              <a:gd name="connsiteY6" fmla="*/ 3469898 h 6900733"/>
              <a:gd name="connsiteX7" fmla="*/ 0 w 12207016"/>
              <a:gd name="connsiteY7" fmla="*/ 0 h 6900733"/>
              <a:gd name="connsiteX8" fmla="*/ 8067418 w 12207016"/>
              <a:gd name="connsiteY8" fmla="*/ 9178 h 6900733"/>
              <a:gd name="connsiteX0" fmla="*/ 8067418 w 12207252"/>
              <a:gd name="connsiteY0" fmla="*/ 9178 h 6900733"/>
              <a:gd name="connsiteX1" fmla="*/ 8949690 w 12207252"/>
              <a:gd name="connsiteY1" fmla="*/ 1227645 h 6900733"/>
              <a:gd name="connsiteX2" fmla="*/ 12190367 w 12207252"/>
              <a:gd name="connsiteY2" fmla="*/ 1211760 h 6900733"/>
              <a:gd name="connsiteX3" fmla="*/ 12206251 w 12207252"/>
              <a:gd name="connsiteY3" fmla="*/ 6892344 h 6900733"/>
              <a:gd name="connsiteX4" fmla="*/ 9769059 w 12207252"/>
              <a:gd name="connsiteY4" fmla="*/ 6900733 h 6900733"/>
              <a:gd name="connsiteX5" fmla="*/ 8166762 w 12207252"/>
              <a:gd name="connsiteY5" fmla="*/ 4640952 h 6900733"/>
              <a:gd name="connsiteX6" fmla="*/ 6588 w 12207252"/>
              <a:gd name="connsiteY6" fmla="*/ 3469898 h 6900733"/>
              <a:gd name="connsiteX7" fmla="*/ 0 w 12207252"/>
              <a:gd name="connsiteY7" fmla="*/ 0 h 6900733"/>
              <a:gd name="connsiteX8" fmla="*/ 8067418 w 12207252"/>
              <a:gd name="connsiteY8" fmla="*/ 9178 h 6900733"/>
              <a:gd name="connsiteX0" fmla="*/ 8067418 w 12207252"/>
              <a:gd name="connsiteY0" fmla="*/ 9178 h 6900733"/>
              <a:gd name="connsiteX1" fmla="*/ 8949690 w 12207252"/>
              <a:gd name="connsiteY1" fmla="*/ 1227645 h 6900733"/>
              <a:gd name="connsiteX2" fmla="*/ 12190367 w 12207252"/>
              <a:gd name="connsiteY2" fmla="*/ 1211760 h 6900733"/>
              <a:gd name="connsiteX3" fmla="*/ 12206251 w 12207252"/>
              <a:gd name="connsiteY3" fmla="*/ 6892344 h 6900733"/>
              <a:gd name="connsiteX4" fmla="*/ 9769059 w 12207252"/>
              <a:gd name="connsiteY4" fmla="*/ 6900733 h 6900733"/>
              <a:gd name="connsiteX5" fmla="*/ 8166762 w 12207252"/>
              <a:gd name="connsiteY5" fmla="*/ 4640952 h 6900733"/>
              <a:gd name="connsiteX6" fmla="*/ 6588 w 12207252"/>
              <a:gd name="connsiteY6" fmla="*/ 3469898 h 6900733"/>
              <a:gd name="connsiteX7" fmla="*/ 0 w 12207252"/>
              <a:gd name="connsiteY7" fmla="*/ 0 h 6900733"/>
              <a:gd name="connsiteX8" fmla="*/ 8067418 w 12207252"/>
              <a:gd name="connsiteY8" fmla="*/ 9178 h 6900733"/>
              <a:gd name="connsiteX0" fmla="*/ 8067418 w 12207252"/>
              <a:gd name="connsiteY0" fmla="*/ 9178 h 6900733"/>
              <a:gd name="connsiteX1" fmla="*/ 8934700 w 12207252"/>
              <a:gd name="connsiteY1" fmla="*/ 1212655 h 6900733"/>
              <a:gd name="connsiteX2" fmla="*/ 12190367 w 12207252"/>
              <a:gd name="connsiteY2" fmla="*/ 1211760 h 6900733"/>
              <a:gd name="connsiteX3" fmla="*/ 12206251 w 12207252"/>
              <a:gd name="connsiteY3" fmla="*/ 6892344 h 6900733"/>
              <a:gd name="connsiteX4" fmla="*/ 9769059 w 12207252"/>
              <a:gd name="connsiteY4" fmla="*/ 6900733 h 6900733"/>
              <a:gd name="connsiteX5" fmla="*/ 8166762 w 12207252"/>
              <a:gd name="connsiteY5" fmla="*/ 4640952 h 6900733"/>
              <a:gd name="connsiteX6" fmla="*/ 6588 w 12207252"/>
              <a:gd name="connsiteY6" fmla="*/ 3469898 h 6900733"/>
              <a:gd name="connsiteX7" fmla="*/ 0 w 12207252"/>
              <a:gd name="connsiteY7" fmla="*/ 0 h 6900733"/>
              <a:gd name="connsiteX8" fmla="*/ 8067418 w 12207252"/>
              <a:gd name="connsiteY8" fmla="*/ 9178 h 6900733"/>
              <a:gd name="connsiteX0" fmla="*/ 8067418 w 12207252"/>
              <a:gd name="connsiteY0" fmla="*/ 9178 h 6900733"/>
              <a:gd name="connsiteX1" fmla="*/ 8934700 w 12207252"/>
              <a:gd name="connsiteY1" fmla="*/ 1212655 h 6900733"/>
              <a:gd name="connsiteX2" fmla="*/ 12190367 w 12207252"/>
              <a:gd name="connsiteY2" fmla="*/ 1211760 h 6900733"/>
              <a:gd name="connsiteX3" fmla="*/ 12206251 w 12207252"/>
              <a:gd name="connsiteY3" fmla="*/ 6892344 h 6900733"/>
              <a:gd name="connsiteX4" fmla="*/ 9769059 w 12207252"/>
              <a:gd name="connsiteY4" fmla="*/ 6900733 h 6900733"/>
              <a:gd name="connsiteX5" fmla="*/ 8166762 w 12207252"/>
              <a:gd name="connsiteY5" fmla="*/ 4640952 h 6900733"/>
              <a:gd name="connsiteX6" fmla="*/ 6588 w 12207252"/>
              <a:gd name="connsiteY6" fmla="*/ 3469898 h 6900733"/>
              <a:gd name="connsiteX7" fmla="*/ 0 w 12207252"/>
              <a:gd name="connsiteY7" fmla="*/ 0 h 6900733"/>
              <a:gd name="connsiteX8" fmla="*/ 8067418 w 12207252"/>
              <a:gd name="connsiteY8" fmla="*/ 9178 h 6900733"/>
              <a:gd name="connsiteX0" fmla="*/ 8067418 w 12207252"/>
              <a:gd name="connsiteY0" fmla="*/ 9178 h 6900733"/>
              <a:gd name="connsiteX1" fmla="*/ 8934700 w 12207252"/>
              <a:gd name="connsiteY1" fmla="*/ 1212655 h 6900733"/>
              <a:gd name="connsiteX2" fmla="*/ 12190367 w 12207252"/>
              <a:gd name="connsiteY2" fmla="*/ 1211760 h 6900733"/>
              <a:gd name="connsiteX3" fmla="*/ 12206251 w 12207252"/>
              <a:gd name="connsiteY3" fmla="*/ 6892344 h 6900733"/>
              <a:gd name="connsiteX4" fmla="*/ 9769059 w 12207252"/>
              <a:gd name="connsiteY4" fmla="*/ 6900733 h 6900733"/>
              <a:gd name="connsiteX5" fmla="*/ 8166762 w 12207252"/>
              <a:gd name="connsiteY5" fmla="*/ 4640952 h 6900733"/>
              <a:gd name="connsiteX6" fmla="*/ 6588 w 12207252"/>
              <a:gd name="connsiteY6" fmla="*/ 3469898 h 6900733"/>
              <a:gd name="connsiteX7" fmla="*/ 0 w 12207252"/>
              <a:gd name="connsiteY7" fmla="*/ 0 h 6900733"/>
              <a:gd name="connsiteX8" fmla="*/ 8067418 w 12207252"/>
              <a:gd name="connsiteY8" fmla="*/ 9178 h 6900733"/>
              <a:gd name="connsiteX0" fmla="*/ 8077395 w 12217229"/>
              <a:gd name="connsiteY0" fmla="*/ 9178 h 6900733"/>
              <a:gd name="connsiteX1" fmla="*/ 8944677 w 12217229"/>
              <a:gd name="connsiteY1" fmla="*/ 1212655 h 6900733"/>
              <a:gd name="connsiteX2" fmla="*/ 12200344 w 12217229"/>
              <a:gd name="connsiteY2" fmla="*/ 1211760 h 6900733"/>
              <a:gd name="connsiteX3" fmla="*/ 12216228 w 12217229"/>
              <a:gd name="connsiteY3" fmla="*/ 6892344 h 6900733"/>
              <a:gd name="connsiteX4" fmla="*/ 9779036 w 12217229"/>
              <a:gd name="connsiteY4" fmla="*/ 6900733 h 6900733"/>
              <a:gd name="connsiteX5" fmla="*/ 8176739 w 12217229"/>
              <a:gd name="connsiteY5" fmla="*/ 4640952 h 6900733"/>
              <a:gd name="connsiteX6" fmla="*/ 0 w 12217229"/>
              <a:gd name="connsiteY6" fmla="*/ 3436768 h 6900733"/>
              <a:gd name="connsiteX7" fmla="*/ 9977 w 12217229"/>
              <a:gd name="connsiteY7" fmla="*/ 0 h 6900733"/>
              <a:gd name="connsiteX8" fmla="*/ 8077395 w 12217229"/>
              <a:gd name="connsiteY8" fmla="*/ 9178 h 6900733"/>
              <a:gd name="connsiteX0" fmla="*/ 8081361 w 12221195"/>
              <a:gd name="connsiteY0" fmla="*/ 12491 h 6904046"/>
              <a:gd name="connsiteX1" fmla="*/ 8948643 w 12221195"/>
              <a:gd name="connsiteY1" fmla="*/ 1215968 h 6904046"/>
              <a:gd name="connsiteX2" fmla="*/ 12204310 w 12221195"/>
              <a:gd name="connsiteY2" fmla="*/ 1215073 h 6904046"/>
              <a:gd name="connsiteX3" fmla="*/ 12220194 w 12221195"/>
              <a:gd name="connsiteY3" fmla="*/ 6895657 h 6904046"/>
              <a:gd name="connsiteX4" fmla="*/ 9783002 w 12221195"/>
              <a:gd name="connsiteY4" fmla="*/ 6904046 h 6904046"/>
              <a:gd name="connsiteX5" fmla="*/ 8180705 w 12221195"/>
              <a:gd name="connsiteY5" fmla="*/ 4644265 h 6904046"/>
              <a:gd name="connsiteX6" fmla="*/ 3966 w 12221195"/>
              <a:gd name="connsiteY6" fmla="*/ 3440081 h 6904046"/>
              <a:gd name="connsiteX7" fmla="*/ 691 w 12221195"/>
              <a:gd name="connsiteY7" fmla="*/ 0 h 6904046"/>
              <a:gd name="connsiteX8" fmla="*/ 8081361 w 12221195"/>
              <a:gd name="connsiteY8" fmla="*/ 12491 h 6904046"/>
              <a:gd name="connsiteX0" fmla="*/ 8081361 w 12221195"/>
              <a:gd name="connsiteY0" fmla="*/ 12491 h 6904046"/>
              <a:gd name="connsiteX1" fmla="*/ 8948643 w 12221195"/>
              <a:gd name="connsiteY1" fmla="*/ 1215968 h 6904046"/>
              <a:gd name="connsiteX2" fmla="*/ 12204310 w 12221195"/>
              <a:gd name="connsiteY2" fmla="*/ 1215073 h 6904046"/>
              <a:gd name="connsiteX3" fmla="*/ 12220194 w 12221195"/>
              <a:gd name="connsiteY3" fmla="*/ 6895657 h 6904046"/>
              <a:gd name="connsiteX4" fmla="*/ 9783002 w 12221195"/>
              <a:gd name="connsiteY4" fmla="*/ 6904046 h 6904046"/>
              <a:gd name="connsiteX5" fmla="*/ 8140949 w 12221195"/>
              <a:gd name="connsiteY5" fmla="*/ 4614448 h 6904046"/>
              <a:gd name="connsiteX6" fmla="*/ 3966 w 12221195"/>
              <a:gd name="connsiteY6" fmla="*/ 3440081 h 6904046"/>
              <a:gd name="connsiteX7" fmla="*/ 691 w 12221195"/>
              <a:gd name="connsiteY7" fmla="*/ 0 h 6904046"/>
              <a:gd name="connsiteX8" fmla="*/ 8081361 w 12221195"/>
              <a:gd name="connsiteY8" fmla="*/ 12491 h 6904046"/>
              <a:gd name="connsiteX0" fmla="*/ 8081361 w 12221195"/>
              <a:gd name="connsiteY0" fmla="*/ 12491 h 6904046"/>
              <a:gd name="connsiteX1" fmla="*/ 8948643 w 12221195"/>
              <a:gd name="connsiteY1" fmla="*/ 1215968 h 6904046"/>
              <a:gd name="connsiteX2" fmla="*/ 12204310 w 12221195"/>
              <a:gd name="connsiteY2" fmla="*/ 1215073 h 6904046"/>
              <a:gd name="connsiteX3" fmla="*/ 12220194 w 12221195"/>
              <a:gd name="connsiteY3" fmla="*/ 6895657 h 6904046"/>
              <a:gd name="connsiteX4" fmla="*/ 9783002 w 12221195"/>
              <a:gd name="connsiteY4" fmla="*/ 6904046 h 6904046"/>
              <a:gd name="connsiteX5" fmla="*/ 8163809 w 12221195"/>
              <a:gd name="connsiteY5" fmla="*/ 4425036 h 6904046"/>
              <a:gd name="connsiteX6" fmla="*/ 3966 w 12221195"/>
              <a:gd name="connsiteY6" fmla="*/ 3440081 h 6904046"/>
              <a:gd name="connsiteX7" fmla="*/ 691 w 12221195"/>
              <a:gd name="connsiteY7" fmla="*/ 0 h 6904046"/>
              <a:gd name="connsiteX8" fmla="*/ 8081361 w 12221195"/>
              <a:gd name="connsiteY8" fmla="*/ 12491 h 6904046"/>
              <a:gd name="connsiteX0" fmla="*/ 8081361 w 12221195"/>
              <a:gd name="connsiteY0" fmla="*/ 12491 h 6904046"/>
              <a:gd name="connsiteX1" fmla="*/ 8948643 w 12221195"/>
              <a:gd name="connsiteY1" fmla="*/ 1215968 h 6904046"/>
              <a:gd name="connsiteX2" fmla="*/ 12204310 w 12221195"/>
              <a:gd name="connsiteY2" fmla="*/ 1215073 h 6904046"/>
              <a:gd name="connsiteX3" fmla="*/ 12220194 w 12221195"/>
              <a:gd name="connsiteY3" fmla="*/ 6895657 h 6904046"/>
              <a:gd name="connsiteX4" fmla="*/ 9783002 w 12221195"/>
              <a:gd name="connsiteY4" fmla="*/ 6904046 h 6904046"/>
              <a:gd name="connsiteX5" fmla="*/ 8095229 w 12221195"/>
              <a:gd name="connsiteY5" fmla="*/ 4591588 h 6904046"/>
              <a:gd name="connsiteX6" fmla="*/ 3966 w 12221195"/>
              <a:gd name="connsiteY6" fmla="*/ 3440081 h 6904046"/>
              <a:gd name="connsiteX7" fmla="*/ 691 w 12221195"/>
              <a:gd name="connsiteY7" fmla="*/ 0 h 6904046"/>
              <a:gd name="connsiteX8" fmla="*/ 8081361 w 12221195"/>
              <a:gd name="connsiteY8" fmla="*/ 12491 h 6904046"/>
              <a:gd name="connsiteX0" fmla="*/ 8081361 w 12221195"/>
              <a:gd name="connsiteY0" fmla="*/ 12491 h 6895657"/>
              <a:gd name="connsiteX1" fmla="*/ 8948643 w 12221195"/>
              <a:gd name="connsiteY1" fmla="*/ 1215968 h 6895657"/>
              <a:gd name="connsiteX2" fmla="*/ 12204310 w 12221195"/>
              <a:gd name="connsiteY2" fmla="*/ 1215073 h 6895657"/>
              <a:gd name="connsiteX3" fmla="*/ 12220194 w 12221195"/>
              <a:gd name="connsiteY3" fmla="*/ 6895657 h 6895657"/>
              <a:gd name="connsiteX4" fmla="*/ 9714422 w 12221195"/>
              <a:gd name="connsiteY4" fmla="*/ 6881186 h 6895657"/>
              <a:gd name="connsiteX5" fmla="*/ 8095229 w 12221195"/>
              <a:gd name="connsiteY5" fmla="*/ 4591588 h 6895657"/>
              <a:gd name="connsiteX6" fmla="*/ 3966 w 12221195"/>
              <a:gd name="connsiteY6" fmla="*/ 3440081 h 6895657"/>
              <a:gd name="connsiteX7" fmla="*/ 691 w 12221195"/>
              <a:gd name="connsiteY7" fmla="*/ 0 h 6895657"/>
              <a:gd name="connsiteX8" fmla="*/ 8081361 w 12221195"/>
              <a:gd name="connsiteY8" fmla="*/ 12491 h 6895657"/>
              <a:gd name="connsiteX0" fmla="*/ 8081361 w 12221195"/>
              <a:gd name="connsiteY0" fmla="*/ 12491 h 6895657"/>
              <a:gd name="connsiteX1" fmla="*/ 8948643 w 12221195"/>
              <a:gd name="connsiteY1" fmla="*/ 1215968 h 6895657"/>
              <a:gd name="connsiteX2" fmla="*/ 12204310 w 12221195"/>
              <a:gd name="connsiteY2" fmla="*/ 1215073 h 6895657"/>
              <a:gd name="connsiteX3" fmla="*/ 12220194 w 12221195"/>
              <a:gd name="connsiteY3" fmla="*/ 6895657 h 6895657"/>
              <a:gd name="connsiteX4" fmla="*/ 9714422 w 12221195"/>
              <a:gd name="connsiteY4" fmla="*/ 6881186 h 6895657"/>
              <a:gd name="connsiteX5" fmla="*/ 8095229 w 12221195"/>
              <a:gd name="connsiteY5" fmla="*/ 4591588 h 6895657"/>
              <a:gd name="connsiteX6" fmla="*/ 3966 w 12221195"/>
              <a:gd name="connsiteY6" fmla="*/ 3440081 h 6895657"/>
              <a:gd name="connsiteX7" fmla="*/ 691 w 12221195"/>
              <a:gd name="connsiteY7" fmla="*/ 0 h 6895657"/>
              <a:gd name="connsiteX8" fmla="*/ 8081361 w 12221195"/>
              <a:gd name="connsiteY8" fmla="*/ 12491 h 6895657"/>
              <a:gd name="connsiteX0" fmla="*/ 8081361 w 12204331"/>
              <a:gd name="connsiteY0" fmla="*/ 12491 h 6881186"/>
              <a:gd name="connsiteX1" fmla="*/ 8948643 w 12204331"/>
              <a:gd name="connsiteY1" fmla="*/ 1215968 h 6881186"/>
              <a:gd name="connsiteX2" fmla="*/ 12204310 w 12204331"/>
              <a:gd name="connsiteY2" fmla="*/ 1215073 h 6881186"/>
              <a:gd name="connsiteX3" fmla="*/ 12076503 w 12204331"/>
              <a:gd name="connsiteY3" fmla="*/ 6732371 h 6881186"/>
              <a:gd name="connsiteX4" fmla="*/ 9714422 w 12204331"/>
              <a:gd name="connsiteY4" fmla="*/ 6881186 h 6881186"/>
              <a:gd name="connsiteX5" fmla="*/ 8095229 w 12204331"/>
              <a:gd name="connsiteY5" fmla="*/ 4591588 h 6881186"/>
              <a:gd name="connsiteX6" fmla="*/ 3966 w 12204331"/>
              <a:gd name="connsiteY6" fmla="*/ 3440081 h 6881186"/>
              <a:gd name="connsiteX7" fmla="*/ 691 w 12204331"/>
              <a:gd name="connsiteY7" fmla="*/ 0 h 6881186"/>
              <a:gd name="connsiteX8" fmla="*/ 8081361 w 12204331"/>
              <a:gd name="connsiteY8" fmla="*/ 12491 h 6881186"/>
              <a:gd name="connsiteX0" fmla="*/ 8081361 w 12204645"/>
              <a:gd name="connsiteY0" fmla="*/ 12491 h 6881186"/>
              <a:gd name="connsiteX1" fmla="*/ 8948643 w 12204645"/>
              <a:gd name="connsiteY1" fmla="*/ 1215968 h 6881186"/>
              <a:gd name="connsiteX2" fmla="*/ 12204310 w 12204645"/>
              <a:gd name="connsiteY2" fmla="*/ 1215073 h 6881186"/>
              <a:gd name="connsiteX3" fmla="*/ 12194069 w 12204645"/>
              <a:gd name="connsiteY3" fmla="*/ 6872796 h 6881186"/>
              <a:gd name="connsiteX4" fmla="*/ 9714422 w 12204645"/>
              <a:gd name="connsiteY4" fmla="*/ 6881186 h 6881186"/>
              <a:gd name="connsiteX5" fmla="*/ 8095229 w 12204645"/>
              <a:gd name="connsiteY5" fmla="*/ 4591588 h 6881186"/>
              <a:gd name="connsiteX6" fmla="*/ 3966 w 12204645"/>
              <a:gd name="connsiteY6" fmla="*/ 3440081 h 6881186"/>
              <a:gd name="connsiteX7" fmla="*/ 691 w 12204645"/>
              <a:gd name="connsiteY7" fmla="*/ 0 h 6881186"/>
              <a:gd name="connsiteX8" fmla="*/ 8081361 w 12204645"/>
              <a:gd name="connsiteY8" fmla="*/ 12491 h 6881186"/>
              <a:gd name="connsiteX0" fmla="*/ 8081361 w 12204645"/>
              <a:gd name="connsiteY0" fmla="*/ 12491 h 6881186"/>
              <a:gd name="connsiteX1" fmla="*/ 8948643 w 12204645"/>
              <a:gd name="connsiteY1" fmla="*/ 1215968 h 6881186"/>
              <a:gd name="connsiteX2" fmla="*/ 12204310 w 12204645"/>
              <a:gd name="connsiteY2" fmla="*/ 1215073 h 6881186"/>
              <a:gd name="connsiteX3" fmla="*/ 12194069 w 12204645"/>
              <a:gd name="connsiteY3" fmla="*/ 6876061 h 6881186"/>
              <a:gd name="connsiteX4" fmla="*/ 9714422 w 12204645"/>
              <a:gd name="connsiteY4" fmla="*/ 6881186 h 6881186"/>
              <a:gd name="connsiteX5" fmla="*/ 8095229 w 12204645"/>
              <a:gd name="connsiteY5" fmla="*/ 4591588 h 6881186"/>
              <a:gd name="connsiteX6" fmla="*/ 3966 w 12204645"/>
              <a:gd name="connsiteY6" fmla="*/ 3440081 h 6881186"/>
              <a:gd name="connsiteX7" fmla="*/ 691 w 12204645"/>
              <a:gd name="connsiteY7" fmla="*/ 0 h 6881186"/>
              <a:gd name="connsiteX8" fmla="*/ 8081361 w 12204645"/>
              <a:gd name="connsiteY8" fmla="*/ 12491 h 6881186"/>
              <a:gd name="connsiteX0" fmla="*/ 8081361 w 12204645"/>
              <a:gd name="connsiteY0" fmla="*/ 12491 h 6881186"/>
              <a:gd name="connsiteX1" fmla="*/ 8948643 w 12204645"/>
              <a:gd name="connsiteY1" fmla="*/ 1215968 h 6881186"/>
              <a:gd name="connsiteX2" fmla="*/ 12204310 w 12204645"/>
              <a:gd name="connsiteY2" fmla="*/ 1215073 h 6881186"/>
              <a:gd name="connsiteX3" fmla="*/ 12194069 w 12204645"/>
              <a:gd name="connsiteY3" fmla="*/ 6876061 h 6881186"/>
              <a:gd name="connsiteX4" fmla="*/ 9714422 w 12204645"/>
              <a:gd name="connsiteY4" fmla="*/ 6881186 h 6881186"/>
              <a:gd name="connsiteX5" fmla="*/ 8095229 w 12204645"/>
              <a:gd name="connsiteY5" fmla="*/ 4591588 h 6881186"/>
              <a:gd name="connsiteX6" fmla="*/ 3966 w 12204645"/>
              <a:gd name="connsiteY6" fmla="*/ 3440081 h 6881186"/>
              <a:gd name="connsiteX7" fmla="*/ 691 w 12204645"/>
              <a:gd name="connsiteY7" fmla="*/ 0 h 6881186"/>
              <a:gd name="connsiteX8" fmla="*/ 8081361 w 12204645"/>
              <a:gd name="connsiteY8" fmla="*/ 12491 h 6881186"/>
              <a:gd name="connsiteX0" fmla="*/ 8081361 w 12204645"/>
              <a:gd name="connsiteY0" fmla="*/ 12491 h 6881186"/>
              <a:gd name="connsiteX1" fmla="*/ 8930536 w 12204645"/>
              <a:gd name="connsiteY1" fmla="*/ 1143540 h 6881186"/>
              <a:gd name="connsiteX2" fmla="*/ 12204310 w 12204645"/>
              <a:gd name="connsiteY2" fmla="*/ 1215073 h 6881186"/>
              <a:gd name="connsiteX3" fmla="*/ 12194069 w 12204645"/>
              <a:gd name="connsiteY3" fmla="*/ 6876061 h 6881186"/>
              <a:gd name="connsiteX4" fmla="*/ 9714422 w 12204645"/>
              <a:gd name="connsiteY4" fmla="*/ 6881186 h 6881186"/>
              <a:gd name="connsiteX5" fmla="*/ 8095229 w 12204645"/>
              <a:gd name="connsiteY5" fmla="*/ 4591588 h 6881186"/>
              <a:gd name="connsiteX6" fmla="*/ 3966 w 12204645"/>
              <a:gd name="connsiteY6" fmla="*/ 3440081 h 6881186"/>
              <a:gd name="connsiteX7" fmla="*/ 691 w 12204645"/>
              <a:gd name="connsiteY7" fmla="*/ 0 h 6881186"/>
              <a:gd name="connsiteX8" fmla="*/ 8081361 w 12204645"/>
              <a:gd name="connsiteY8" fmla="*/ 12491 h 6881186"/>
              <a:gd name="connsiteX0" fmla="*/ 8081361 w 12197494"/>
              <a:gd name="connsiteY0" fmla="*/ 12491 h 6881186"/>
              <a:gd name="connsiteX1" fmla="*/ 8930536 w 12197494"/>
              <a:gd name="connsiteY1" fmla="*/ 1143540 h 6881186"/>
              <a:gd name="connsiteX2" fmla="*/ 12195256 w 12197494"/>
              <a:gd name="connsiteY2" fmla="*/ 1142645 h 6881186"/>
              <a:gd name="connsiteX3" fmla="*/ 12194069 w 12197494"/>
              <a:gd name="connsiteY3" fmla="*/ 6876061 h 6881186"/>
              <a:gd name="connsiteX4" fmla="*/ 9714422 w 12197494"/>
              <a:gd name="connsiteY4" fmla="*/ 6881186 h 6881186"/>
              <a:gd name="connsiteX5" fmla="*/ 8095229 w 12197494"/>
              <a:gd name="connsiteY5" fmla="*/ 4591588 h 6881186"/>
              <a:gd name="connsiteX6" fmla="*/ 3966 w 12197494"/>
              <a:gd name="connsiteY6" fmla="*/ 3440081 h 6881186"/>
              <a:gd name="connsiteX7" fmla="*/ 691 w 12197494"/>
              <a:gd name="connsiteY7" fmla="*/ 0 h 6881186"/>
              <a:gd name="connsiteX8" fmla="*/ 8081361 w 12197494"/>
              <a:gd name="connsiteY8" fmla="*/ 12491 h 6881186"/>
              <a:gd name="connsiteX0" fmla="*/ 8081361 w 12197494"/>
              <a:gd name="connsiteY0" fmla="*/ 12491 h 6881186"/>
              <a:gd name="connsiteX1" fmla="*/ 8930536 w 12197494"/>
              <a:gd name="connsiteY1" fmla="*/ 1143540 h 6881186"/>
              <a:gd name="connsiteX2" fmla="*/ 12195256 w 12197494"/>
              <a:gd name="connsiteY2" fmla="*/ 1142645 h 6881186"/>
              <a:gd name="connsiteX3" fmla="*/ 12194069 w 12197494"/>
              <a:gd name="connsiteY3" fmla="*/ 6876061 h 6881186"/>
              <a:gd name="connsiteX4" fmla="*/ 9714422 w 12197494"/>
              <a:gd name="connsiteY4" fmla="*/ 6881186 h 6881186"/>
              <a:gd name="connsiteX5" fmla="*/ 8095229 w 12197494"/>
              <a:gd name="connsiteY5" fmla="*/ 4591588 h 6881186"/>
              <a:gd name="connsiteX6" fmla="*/ 3966 w 12197494"/>
              <a:gd name="connsiteY6" fmla="*/ 3440081 h 6881186"/>
              <a:gd name="connsiteX7" fmla="*/ 691 w 12197494"/>
              <a:gd name="connsiteY7" fmla="*/ 0 h 6881186"/>
              <a:gd name="connsiteX8" fmla="*/ 8081361 w 12197494"/>
              <a:gd name="connsiteY8" fmla="*/ 12491 h 6881186"/>
              <a:gd name="connsiteX0" fmla="*/ 8081361 w 12197494"/>
              <a:gd name="connsiteY0" fmla="*/ 12491 h 6881186"/>
              <a:gd name="connsiteX1" fmla="*/ 8930536 w 12197494"/>
              <a:gd name="connsiteY1" fmla="*/ 1143540 h 6881186"/>
              <a:gd name="connsiteX2" fmla="*/ 12195256 w 12197494"/>
              <a:gd name="connsiteY2" fmla="*/ 1142645 h 6881186"/>
              <a:gd name="connsiteX3" fmla="*/ 12194069 w 12197494"/>
              <a:gd name="connsiteY3" fmla="*/ 6876061 h 6881186"/>
              <a:gd name="connsiteX4" fmla="*/ 9714422 w 12197494"/>
              <a:gd name="connsiteY4" fmla="*/ 6881186 h 6881186"/>
              <a:gd name="connsiteX5" fmla="*/ 8095229 w 12197494"/>
              <a:gd name="connsiteY5" fmla="*/ 4591588 h 6881186"/>
              <a:gd name="connsiteX6" fmla="*/ 3966 w 12197494"/>
              <a:gd name="connsiteY6" fmla="*/ 3440081 h 6881186"/>
              <a:gd name="connsiteX7" fmla="*/ 691 w 12197494"/>
              <a:gd name="connsiteY7" fmla="*/ 0 h 6881186"/>
              <a:gd name="connsiteX8" fmla="*/ 8081361 w 12197494"/>
              <a:gd name="connsiteY8" fmla="*/ 12491 h 6881186"/>
              <a:gd name="connsiteX0" fmla="*/ 8081361 w 12197494"/>
              <a:gd name="connsiteY0" fmla="*/ 12491 h 6881186"/>
              <a:gd name="connsiteX1" fmla="*/ 8930536 w 12197494"/>
              <a:gd name="connsiteY1" fmla="*/ 1143540 h 6881186"/>
              <a:gd name="connsiteX2" fmla="*/ 12195256 w 12197494"/>
              <a:gd name="connsiteY2" fmla="*/ 1142645 h 6881186"/>
              <a:gd name="connsiteX3" fmla="*/ 12194069 w 12197494"/>
              <a:gd name="connsiteY3" fmla="*/ 6876061 h 6881186"/>
              <a:gd name="connsiteX4" fmla="*/ 9714422 w 12197494"/>
              <a:gd name="connsiteY4" fmla="*/ 6881186 h 6881186"/>
              <a:gd name="connsiteX5" fmla="*/ 7254720 w 12197494"/>
              <a:gd name="connsiteY5" fmla="*/ 4018933 h 6881186"/>
              <a:gd name="connsiteX6" fmla="*/ 3966 w 12197494"/>
              <a:gd name="connsiteY6" fmla="*/ 3440081 h 6881186"/>
              <a:gd name="connsiteX7" fmla="*/ 691 w 12197494"/>
              <a:gd name="connsiteY7" fmla="*/ 0 h 6881186"/>
              <a:gd name="connsiteX8" fmla="*/ 8081361 w 12197494"/>
              <a:gd name="connsiteY8" fmla="*/ 12491 h 6881186"/>
              <a:gd name="connsiteX0" fmla="*/ 8081361 w 12197494"/>
              <a:gd name="connsiteY0" fmla="*/ 12491 h 6881186"/>
              <a:gd name="connsiteX1" fmla="*/ 8930536 w 12197494"/>
              <a:gd name="connsiteY1" fmla="*/ 1143540 h 6881186"/>
              <a:gd name="connsiteX2" fmla="*/ 12195256 w 12197494"/>
              <a:gd name="connsiteY2" fmla="*/ 1142645 h 6881186"/>
              <a:gd name="connsiteX3" fmla="*/ 12194069 w 12197494"/>
              <a:gd name="connsiteY3" fmla="*/ 6876061 h 6881186"/>
              <a:gd name="connsiteX4" fmla="*/ 9714422 w 12197494"/>
              <a:gd name="connsiteY4" fmla="*/ 6881186 h 6881186"/>
              <a:gd name="connsiteX5" fmla="*/ 7254720 w 12197494"/>
              <a:gd name="connsiteY5" fmla="*/ 4018933 h 6881186"/>
              <a:gd name="connsiteX6" fmla="*/ 3966 w 12197494"/>
              <a:gd name="connsiteY6" fmla="*/ 3440081 h 6881186"/>
              <a:gd name="connsiteX7" fmla="*/ 691 w 12197494"/>
              <a:gd name="connsiteY7" fmla="*/ 0 h 6881186"/>
              <a:gd name="connsiteX8" fmla="*/ 8081361 w 12197494"/>
              <a:gd name="connsiteY8" fmla="*/ 12491 h 6881186"/>
              <a:gd name="connsiteX0" fmla="*/ 8081361 w 12197494"/>
              <a:gd name="connsiteY0" fmla="*/ 12491 h 6881186"/>
              <a:gd name="connsiteX1" fmla="*/ 8930536 w 12197494"/>
              <a:gd name="connsiteY1" fmla="*/ 1143540 h 6881186"/>
              <a:gd name="connsiteX2" fmla="*/ 12195256 w 12197494"/>
              <a:gd name="connsiteY2" fmla="*/ 1142645 h 6881186"/>
              <a:gd name="connsiteX3" fmla="*/ 12194069 w 12197494"/>
              <a:gd name="connsiteY3" fmla="*/ 6876061 h 6881186"/>
              <a:gd name="connsiteX4" fmla="*/ 9714422 w 12197494"/>
              <a:gd name="connsiteY4" fmla="*/ 6881186 h 6881186"/>
              <a:gd name="connsiteX5" fmla="*/ 7254720 w 12197494"/>
              <a:gd name="connsiteY5" fmla="*/ 4018933 h 6881186"/>
              <a:gd name="connsiteX6" fmla="*/ 3966 w 12197494"/>
              <a:gd name="connsiteY6" fmla="*/ 3440081 h 6881186"/>
              <a:gd name="connsiteX7" fmla="*/ 691 w 12197494"/>
              <a:gd name="connsiteY7" fmla="*/ 0 h 6881186"/>
              <a:gd name="connsiteX8" fmla="*/ 8081361 w 12197494"/>
              <a:gd name="connsiteY8" fmla="*/ 12491 h 6881186"/>
              <a:gd name="connsiteX0" fmla="*/ 8081361 w 12197494"/>
              <a:gd name="connsiteY0" fmla="*/ 12491 h 6876061"/>
              <a:gd name="connsiteX1" fmla="*/ 8930536 w 12197494"/>
              <a:gd name="connsiteY1" fmla="*/ 1143540 h 6876061"/>
              <a:gd name="connsiteX2" fmla="*/ 12195256 w 12197494"/>
              <a:gd name="connsiteY2" fmla="*/ 1142645 h 6876061"/>
              <a:gd name="connsiteX3" fmla="*/ 12194069 w 12197494"/>
              <a:gd name="connsiteY3" fmla="*/ 6876061 h 6876061"/>
              <a:gd name="connsiteX4" fmla="*/ 9363440 w 12197494"/>
              <a:gd name="connsiteY4" fmla="*/ 6410132 h 6876061"/>
              <a:gd name="connsiteX5" fmla="*/ 7254720 w 12197494"/>
              <a:gd name="connsiteY5" fmla="*/ 4018933 h 6876061"/>
              <a:gd name="connsiteX6" fmla="*/ 3966 w 12197494"/>
              <a:gd name="connsiteY6" fmla="*/ 3440081 h 6876061"/>
              <a:gd name="connsiteX7" fmla="*/ 691 w 12197494"/>
              <a:gd name="connsiteY7" fmla="*/ 0 h 6876061"/>
              <a:gd name="connsiteX8" fmla="*/ 8081361 w 12197494"/>
              <a:gd name="connsiteY8" fmla="*/ 12491 h 6876061"/>
              <a:gd name="connsiteX0" fmla="*/ 8081361 w 12240698"/>
              <a:gd name="connsiteY0" fmla="*/ 12491 h 6410132"/>
              <a:gd name="connsiteX1" fmla="*/ 8930536 w 12240698"/>
              <a:gd name="connsiteY1" fmla="*/ 1143540 h 6410132"/>
              <a:gd name="connsiteX2" fmla="*/ 12195256 w 12240698"/>
              <a:gd name="connsiteY2" fmla="*/ 1142645 h 6410132"/>
              <a:gd name="connsiteX3" fmla="*/ 12240251 w 12240698"/>
              <a:gd name="connsiteY3" fmla="*/ 6118679 h 6410132"/>
              <a:gd name="connsiteX4" fmla="*/ 9363440 w 12240698"/>
              <a:gd name="connsiteY4" fmla="*/ 6410132 h 6410132"/>
              <a:gd name="connsiteX5" fmla="*/ 7254720 w 12240698"/>
              <a:gd name="connsiteY5" fmla="*/ 4018933 h 6410132"/>
              <a:gd name="connsiteX6" fmla="*/ 3966 w 12240698"/>
              <a:gd name="connsiteY6" fmla="*/ 3440081 h 6410132"/>
              <a:gd name="connsiteX7" fmla="*/ 691 w 12240698"/>
              <a:gd name="connsiteY7" fmla="*/ 0 h 6410132"/>
              <a:gd name="connsiteX8" fmla="*/ 8081361 w 12240698"/>
              <a:gd name="connsiteY8" fmla="*/ 12491 h 6410132"/>
              <a:gd name="connsiteX0" fmla="*/ 8081361 w 12240698"/>
              <a:gd name="connsiteY0" fmla="*/ 12491 h 6410132"/>
              <a:gd name="connsiteX1" fmla="*/ 8930536 w 12240698"/>
              <a:gd name="connsiteY1" fmla="*/ 1143540 h 6410132"/>
              <a:gd name="connsiteX2" fmla="*/ 12195256 w 12240698"/>
              <a:gd name="connsiteY2" fmla="*/ 1142645 h 6410132"/>
              <a:gd name="connsiteX3" fmla="*/ 12240251 w 12240698"/>
              <a:gd name="connsiteY3" fmla="*/ 6118679 h 6410132"/>
              <a:gd name="connsiteX4" fmla="*/ 9363440 w 12240698"/>
              <a:gd name="connsiteY4" fmla="*/ 6410132 h 6410132"/>
              <a:gd name="connsiteX5" fmla="*/ 7254720 w 12240698"/>
              <a:gd name="connsiteY5" fmla="*/ 4018933 h 6410132"/>
              <a:gd name="connsiteX6" fmla="*/ 3966 w 12240698"/>
              <a:gd name="connsiteY6" fmla="*/ 3440081 h 6410132"/>
              <a:gd name="connsiteX7" fmla="*/ 691 w 12240698"/>
              <a:gd name="connsiteY7" fmla="*/ 0 h 6410132"/>
              <a:gd name="connsiteX8" fmla="*/ 8081361 w 12240698"/>
              <a:gd name="connsiteY8" fmla="*/ 12491 h 6410132"/>
              <a:gd name="connsiteX0" fmla="*/ 8081361 w 12240698"/>
              <a:gd name="connsiteY0" fmla="*/ 12491 h 6410132"/>
              <a:gd name="connsiteX1" fmla="*/ 8930536 w 12240698"/>
              <a:gd name="connsiteY1" fmla="*/ 1143540 h 6410132"/>
              <a:gd name="connsiteX2" fmla="*/ 12195256 w 12240698"/>
              <a:gd name="connsiteY2" fmla="*/ 1142645 h 6410132"/>
              <a:gd name="connsiteX3" fmla="*/ 12240251 w 12240698"/>
              <a:gd name="connsiteY3" fmla="*/ 6118679 h 6410132"/>
              <a:gd name="connsiteX4" fmla="*/ 9363440 w 12240698"/>
              <a:gd name="connsiteY4" fmla="*/ 6410132 h 6410132"/>
              <a:gd name="connsiteX5" fmla="*/ 7254720 w 12240698"/>
              <a:gd name="connsiteY5" fmla="*/ 4018933 h 6410132"/>
              <a:gd name="connsiteX6" fmla="*/ 3966 w 12240698"/>
              <a:gd name="connsiteY6" fmla="*/ 3440081 h 6410132"/>
              <a:gd name="connsiteX7" fmla="*/ 691 w 12240698"/>
              <a:gd name="connsiteY7" fmla="*/ 0 h 6410132"/>
              <a:gd name="connsiteX8" fmla="*/ 8081361 w 12240698"/>
              <a:gd name="connsiteY8" fmla="*/ 12491 h 6410132"/>
              <a:gd name="connsiteX0" fmla="*/ 8081361 w 12240940"/>
              <a:gd name="connsiteY0" fmla="*/ 12491 h 6410132"/>
              <a:gd name="connsiteX1" fmla="*/ 8930536 w 12240940"/>
              <a:gd name="connsiteY1" fmla="*/ 1143540 h 6410132"/>
              <a:gd name="connsiteX2" fmla="*/ 12213728 w 12240940"/>
              <a:gd name="connsiteY2" fmla="*/ 1151881 h 6410132"/>
              <a:gd name="connsiteX3" fmla="*/ 12240251 w 12240940"/>
              <a:gd name="connsiteY3" fmla="*/ 6118679 h 6410132"/>
              <a:gd name="connsiteX4" fmla="*/ 9363440 w 12240940"/>
              <a:gd name="connsiteY4" fmla="*/ 6410132 h 6410132"/>
              <a:gd name="connsiteX5" fmla="*/ 7254720 w 12240940"/>
              <a:gd name="connsiteY5" fmla="*/ 4018933 h 6410132"/>
              <a:gd name="connsiteX6" fmla="*/ 3966 w 12240940"/>
              <a:gd name="connsiteY6" fmla="*/ 3440081 h 6410132"/>
              <a:gd name="connsiteX7" fmla="*/ 691 w 12240940"/>
              <a:gd name="connsiteY7" fmla="*/ 0 h 6410132"/>
              <a:gd name="connsiteX8" fmla="*/ 8081361 w 12240940"/>
              <a:gd name="connsiteY8" fmla="*/ 12491 h 6410132"/>
              <a:gd name="connsiteX0" fmla="*/ 8081361 w 12214056"/>
              <a:gd name="connsiteY0" fmla="*/ 12491 h 6410132"/>
              <a:gd name="connsiteX1" fmla="*/ 8930536 w 12214056"/>
              <a:gd name="connsiteY1" fmla="*/ 1143540 h 6410132"/>
              <a:gd name="connsiteX2" fmla="*/ 12213728 w 12214056"/>
              <a:gd name="connsiteY2" fmla="*/ 1151881 h 6410132"/>
              <a:gd name="connsiteX3" fmla="*/ 12203306 w 12214056"/>
              <a:gd name="connsiteY3" fmla="*/ 6100207 h 6410132"/>
              <a:gd name="connsiteX4" fmla="*/ 9363440 w 12214056"/>
              <a:gd name="connsiteY4" fmla="*/ 6410132 h 6410132"/>
              <a:gd name="connsiteX5" fmla="*/ 7254720 w 12214056"/>
              <a:gd name="connsiteY5" fmla="*/ 4018933 h 6410132"/>
              <a:gd name="connsiteX6" fmla="*/ 3966 w 12214056"/>
              <a:gd name="connsiteY6" fmla="*/ 3440081 h 6410132"/>
              <a:gd name="connsiteX7" fmla="*/ 691 w 12214056"/>
              <a:gd name="connsiteY7" fmla="*/ 0 h 6410132"/>
              <a:gd name="connsiteX8" fmla="*/ 8081361 w 12214056"/>
              <a:gd name="connsiteY8" fmla="*/ 12491 h 6410132"/>
              <a:gd name="connsiteX0" fmla="*/ 8081361 w 12204251"/>
              <a:gd name="connsiteY0" fmla="*/ 12491 h 6410132"/>
              <a:gd name="connsiteX1" fmla="*/ 8930536 w 12204251"/>
              <a:gd name="connsiteY1" fmla="*/ 1143540 h 6410132"/>
              <a:gd name="connsiteX2" fmla="*/ 12186019 w 12204251"/>
              <a:gd name="connsiteY2" fmla="*/ 1133408 h 6410132"/>
              <a:gd name="connsiteX3" fmla="*/ 12203306 w 12204251"/>
              <a:gd name="connsiteY3" fmla="*/ 6100207 h 6410132"/>
              <a:gd name="connsiteX4" fmla="*/ 9363440 w 12204251"/>
              <a:gd name="connsiteY4" fmla="*/ 6410132 h 6410132"/>
              <a:gd name="connsiteX5" fmla="*/ 7254720 w 12204251"/>
              <a:gd name="connsiteY5" fmla="*/ 4018933 h 6410132"/>
              <a:gd name="connsiteX6" fmla="*/ 3966 w 12204251"/>
              <a:gd name="connsiteY6" fmla="*/ 3440081 h 6410132"/>
              <a:gd name="connsiteX7" fmla="*/ 691 w 12204251"/>
              <a:gd name="connsiteY7" fmla="*/ 0 h 6410132"/>
              <a:gd name="connsiteX8" fmla="*/ 8081361 w 12204251"/>
              <a:gd name="connsiteY8" fmla="*/ 12491 h 6410132"/>
              <a:gd name="connsiteX0" fmla="*/ 8081361 w 12204251"/>
              <a:gd name="connsiteY0" fmla="*/ 12491 h 6410132"/>
              <a:gd name="connsiteX1" fmla="*/ 8930536 w 12204251"/>
              <a:gd name="connsiteY1" fmla="*/ 1143540 h 6410132"/>
              <a:gd name="connsiteX2" fmla="*/ 12186019 w 12204251"/>
              <a:gd name="connsiteY2" fmla="*/ 1133408 h 6410132"/>
              <a:gd name="connsiteX3" fmla="*/ 12203306 w 12204251"/>
              <a:gd name="connsiteY3" fmla="*/ 6100207 h 6410132"/>
              <a:gd name="connsiteX4" fmla="*/ 9363440 w 12204251"/>
              <a:gd name="connsiteY4" fmla="*/ 6410132 h 6410132"/>
              <a:gd name="connsiteX5" fmla="*/ 7254720 w 12204251"/>
              <a:gd name="connsiteY5" fmla="*/ 4018933 h 6410132"/>
              <a:gd name="connsiteX6" fmla="*/ 3966 w 12204251"/>
              <a:gd name="connsiteY6" fmla="*/ 3440081 h 6410132"/>
              <a:gd name="connsiteX7" fmla="*/ 691 w 12204251"/>
              <a:gd name="connsiteY7" fmla="*/ 0 h 6410132"/>
              <a:gd name="connsiteX8" fmla="*/ 8081361 w 12204251"/>
              <a:gd name="connsiteY8" fmla="*/ 12491 h 6410132"/>
              <a:gd name="connsiteX0" fmla="*/ 8081361 w 12204251"/>
              <a:gd name="connsiteY0" fmla="*/ 12491 h 6410132"/>
              <a:gd name="connsiteX1" fmla="*/ 8930536 w 12204251"/>
              <a:gd name="connsiteY1" fmla="*/ 1143540 h 6410132"/>
              <a:gd name="connsiteX2" fmla="*/ 12186019 w 12204251"/>
              <a:gd name="connsiteY2" fmla="*/ 1133408 h 6410132"/>
              <a:gd name="connsiteX3" fmla="*/ 12203306 w 12204251"/>
              <a:gd name="connsiteY3" fmla="*/ 6100207 h 6410132"/>
              <a:gd name="connsiteX4" fmla="*/ 9363440 w 12204251"/>
              <a:gd name="connsiteY4" fmla="*/ 6410132 h 6410132"/>
              <a:gd name="connsiteX5" fmla="*/ 7254720 w 12204251"/>
              <a:gd name="connsiteY5" fmla="*/ 4018933 h 6410132"/>
              <a:gd name="connsiteX6" fmla="*/ 3966 w 12204251"/>
              <a:gd name="connsiteY6" fmla="*/ 3440081 h 6410132"/>
              <a:gd name="connsiteX7" fmla="*/ 691 w 12204251"/>
              <a:gd name="connsiteY7" fmla="*/ 0 h 6410132"/>
              <a:gd name="connsiteX8" fmla="*/ 8081361 w 12204251"/>
              <a:gd name="connsiteY8" fmla="*/ 12491 h 6410132"/>
              <a:gd name="connsiteX0" fmla="*/ 8081361 w 12204251"/>
              <a:gd name="connsiteY0" fmla="*/ 12491 h 6410132"/>
              <a:gd name="connsiteX1" fmla="*/ 8930536 w 12204251"/>
              <a:gd name="connsiteY1" fmla="*/ 1143540 h 6410132"/>
              <a:gd name="connsiteX2" fmla="*/ 12186019 w 12204251"/>
              <a:gd name="connsiteY2" fmla="*/ 1133408 h 6410132"/>
              <a:gd name="connsiteX3" fmla="*/ 12203306 w 12204251"/>
              <a:gd name="connsiteY3" fmla="*/ 6100207 h 6410132"/>
              <a:gd name="connsiteX4" fmla="*/ 9363440 w 12204251"/>
              <a:gd name="connsiteY4" fmla="*/ 6410132 h 6410132"/>
              <a:gd name="connsiteX5" fmla="*/ 7254720 w 12204251"/>
              <a:gd name="connsiteY5" fmla="*/ 4018933 h 6410132"/>
              <a:gd name="connsiteX6" fmla="*/ 3966 w 12204251"/>
              <a:gd name="connsiteY6" fmla="*/ 3440081 h 6410132"/>
              <a:gd name="connsiteX7" fmla="*/ 691 w 12204251"/>
              <a:gd name="connsiteY7" fmla="*/ 0 h 6410132"/>
              <a:gd name="connsiteX8" fmla="*/ 8081361 w 12204251"/>
              <a:gd name="connsiteY8" fmla="*/ 12491 h 6410132"/>
              <a:gd name="connsiteX0" fmla="*/ 8081361 w 12204251"/>
              <a:gd name="connsiteY0" fmla="*/ 12491 h 6410132"/>
              <a:gd name="connsiteX1" fmla="*/ 8924186 w 12204251"/>
              <a:gd name="connsiteY1" fmla="*/ 1127665 h 6410132"/>
              <a:gd name="connsiteX2" fmla="*/ 12186019 w 12204251"/>
              <a:gd name="connsiteY2" fmla="*/ 1133408 h 6410132"/>
              <a:gd name="connsiteX3" fmla="*/ 12203306 w 12204251"/>
              <a:gd name="connsiteY3" fmla="*/ 6100207 h 6410132"/>
              <a:gd name="connsiteX4" fmla="*/ 9363440 w 12204251"/>
              <a:gd name="connsiteY4" fmla="*/ 6410132 h 6410132"/>
              <a:gd name="connsiteX5" fmla="*/ 7254720 w 12204251"/>
              <a:gd name="connsiteY5" fmla="*/ 4018933 h 6410132"/>
              <a:gd name="connsiteX6" fmla="*/ 3966 w 12204251"/>
              <a:gd name="connsiteY6" fmla="*/ 3440081 h 6410132"/>
              <a:gd name="connsiteX7" fmla="*/ 691 w 12204251"/>
              <a:gd name="connsiteY7" fmla="*/ 0 h 6410132"/>
              <a:gd name="connsiteX8" fmla="*/ 8081361 w 12204251"/>
              <a:gd name="connsiteY8" fmla="*/ 12491 h 6410132"/>
              <a:gd name="connsiteX0" fmla="*/ 8081361 w 12204251"/>
              <a:gd name="connsiteY0" fmla="*/ 12491 h 6410132"/>
              <a:gd name="connsiteX1" fmla="*/ 8924186 w 12204251"/>
              <a:gd name="connsiteY1" fmla="*/ 1127665 h 6410132"/>
              <a:gd name="connsiteX2" fmla="*/ 12186019 w 12204251"/>
              <a:gd name="connsiteY2" fmla="*/ 1133408 h 6410132"/>
              <a:gd name="connsiteX3" fmla="*/ 12203306 w 12204251"/>
              <a:gd name="connsiteY3" fmla="*/ 6100207 h 6410132"/>
              <a:gd name="connsiteX4" fmla="*/ 9363440 w 12204251"/>
              <a:gd name="connsiteY4" fmla="*/ 6410132 h 6410132"/>
              <a:gd name="connsiteX5" fmla="*/ 7254720 w 12204251"/>
              <a:gd name="connsiteY5" fmla="*/ 4018933 h 6410132"/>
              <a:gd name="connsiteX6" fmla="*/ 3966 w 12204251"/>
              <a:gd name="connsiteY6" fmla="*/ 3440081 h 6410132"/>
              <a:gd name="connsiteX7" fmla="*/ 691 w 12204251"/>
              <a:gd name="connsiteY7" fmla="*/ 0 h 6410132"/>
              <a:gd name="connsiteX8" fmla="*/ 8081361 w 12204251"/>
              <a:gd name="connsiteY8" fmla="*/ 12491 h 6410132"/>
              <a:gd name="connsiteX0" fmla="*/ 8078186 w 12204251"/>
              <a:gd name="connsiteY0" fmla="*/ 2966 h 6410132"/>
              <a:gd name="connsiteX1" fmla="*/ 8924186 w 12204251"/>
              <a:gd name="connsiteY1" fmla="*/ 1127665 h 6410132"/>
              <a:gd name="connsiteX2" fmla="*/ 12186019 w 12204251"/>
              <a:gd name="connsiteY2" fmla="*/ 1133408 h 6410132"/>
              <a:gd name="connsiteX3" fmla="*/ 12203306 w 12204251"/>
              <a:gd name="connsiteY3" fmla="*/ 6100207 h 6410132"/>
              <a:gd name="connsiteX4" fmla="*/ 9363440 w 12204251"/>
              <a:gd name="connsiteY4" fmla="*/ 6410132 h 6410132"/>
              <a:gd name="connsiteX5" fmla="*/ 7254720 w 12204251"/>
              <a:gd name="connsiteY5" fmla="*/ 4018933 h 6410132"/>
              <a:gd name="connsiteX6" fmla="*/ 3966 w 12204251"/>
              <a:gd name="connsiteY6" fmla="*/ 3440081 h 6410132"/>
              <a:gd name="connsiteX7" fmla="*/ 691 w 12204251"/>
              <a:gd name="connsiteY7" fmla="*/ 0 h 6410132"/>
              <a:gd name="connsiteX8" fmla="*/ 8078186 w 12204251"/>
              <a:gd name="connsiteY8" fmla="*/ 2966 h 6410132"/>
              <a:gd name="connsiteX0" fmla="*/ 8078186 w 12204251"/>
              <a:gd name="connsiteY0" fmla="*/ 2966 h 6410132"/>
              <a:gd name="connsiteX1" fmla="*/ 8924186 w 12204251"/>
              <a:gd name="connsiteY1" fmla="*/ 1127665 h 6410132"/>
              <a:gd name="connsiteX2" fmla="*/ 12186019 w 12204251"/>
              <a:gd name="connsiteY2" fmla="*/ 1133408 h 6410132"/>
              <a:gd name="connsiteX3" fmla="*/ 12203306 w 12204251"/>
              <a:gd name="connsiteY3" fmla="*/ 6100207 h 6410132"/>
              <a:gd name="connsiteX4" fmla="*/ 9363440 w 12204251"/>
              <a:gd name="connsiteY4" fmla="*/ 6410132 h 6410132"/>
              <a:gd name="connsiteX5" fmla="*/ 7254720 w 12204251"/>
              <a:gd name="connsiteY5" fmla="*/ 4018933 h 6410132"/>
              <a:gd name="connsiteX6" fmla="*/ 3966 w 12204251"/>
              <a:gd name="connsiteY6" fmla="*/ 3440081 h 6410132"/>
              <a:gd name="connsiteX7" fmla="*/ 691 w 12204251"/>
              <a:gd name="connsiteY7" fmla="*/ 0 h 6410132"/>
              <a:gd name="connsiteX8" fmla="*/ 8078186 w 12204251"/>
              <a:gd name="connsiteY8" fmla="*/ 2966 h 6410132"/>
              <a:gd name="connsiteX0" fmla="*/ 8078186 w 12204251"/>
              <a:gd name="connsiteY0" fmla="*/ 2966 h 6105332"/>
              <a:gd name="connsiteX1" fmla="*/ 8924186 w 12204251"/>
              <a:gd name="connsiteY1" fmla="*/ 1127665 h 6105332"/>
              <a:gd name="connsiteX2" fmla="*/ 12186019 w 12204251"/>
              <a:gd name="connsiteY2" fmla="*/ 1133408 h 6105332"/>
              <a:gd name="connsiteX3" fmla="*/ 12203306 w 12204251"/>
              <a:gd name="connsiteY3" fmla="*/ 6100207 h 6105332"/>
              <a:gd name="connsiteX4" fmla="*/ 9109440 w 12204251"/>
              <a:gd name="connsiteY4" fmla="*/ 6105332 h 6105332"/>
              <a:gd name="connsiteX5" fmla="*/ 7254720 w 12204251"/>
              <a:gd name="connsiteY5" fmla="*/ 4018933 h 6105332"/>
              <a:gd name="connsiteX6" fmla="*/ 3966 w 12204251"/>
              <a:gd name="connsiteY6" fmla="*/ 3440081 h 6105332"/>
              <a:gd name="connsiteX7" fmla="*/ 691 w 12204251"/>
              <a:gd name="connsiteY7" fmla="*/ 0 h 6105332"/>
              <a:gd name="connsiteX8" fmla="*/ 8078186 w 12204251"/>
              <a:gd name="connsiteY8" fmla="*/ 2966 h 6105332"/>
              <a:gd name="connsiteX0" fmla="*/ 8078186 w 12204251"/>
              <a:gd name="connsiteY0" fmla="*/ 2966 h 6105332"/>
              <a:gd name="connsiteX1" fmla="*/ 8924186 w 12204251"/>
              <a:gd name="connsiteY1" fmla="*/ 1127665 h 6105332"/>
              <a:gd name="connsiteX2" fmla="*/ 12186019 w 12204251"/>
              <a:gd name="connsiteY2" fmla="*/ 1133408 h 6105332"/>
              <a:gd name="connsiteX3" fmla="*/ 12203306 w 12204251"/>
              <a:gd name="connsiteY3" fmla="*/ 6100207 h 6105332"/>
              <a:gd name="connsiteX4" fmla="*/ 9109440 w 12204251"/>
              <a:gd name="connsiteY4" fmla="*/ 6105332 h 6105332"/>
              <a:gd name="connsiteX5" fmla="*/ 7521420 w 12204251"/>
              <a:gd name="connsiteY5" fmla="*/ 4044333 h 6105332"/>
              <a:gd name="connsiteX6" fmla="*/ 3966 w 12204251"/>
              <a:gd name="connsiteY6" fmla="*/ 3440081 h 6105332"/>
              <a:gd name="connsiteX7" fmla="*/ 691 w 12204251"/>
              <a:gd name="connsiteY7" fmla="*/ 0 h 6105332"/>
              <a:gd name="connsiteX8" fmla="*/ 8078186 w 12204251"/>
              <a:gd name="connsiteY8" fmla="*/ 2966 h 6105332"/>
              <a:gd name="connsiteX0" fmla="*/ 8078186 w 12204251"/>
              <a:gd name="connsiteY0" fmla="*/ 2966 h 6105332"/>
              <a:gd name="connsiteX1" fmla="*/ 8924186 w 12204251"/>
              <a:gd name="connsiteY1" fmla="*/ 1127665 h 6105332"/>
              <a:gd name="connsiteX2" fmla="*/ 12186019 w 12204251"/>
              <a:gd name="connsiteY2" fmla="*/ 1133408 h 6105332"/>
              <a:gd name="connsiteX3" fmla="*/ 12203306 w 12204251"/>
              <a:gd name="connsiteY3" fmla="*/ 6100207 h 6105332"/>
              <a:gd name="connsiteX4" fmla="*/ 9109440 w 12204251"/>
              <a:gd name="connsiteY4" fmla="*/ 6105332 h 6105332"/>
              <a:gd name="connsiteX5" fmla="*/ 7521420 w 12204251"/>
              <a:gd name="connsiteY5" fmla="*/ 4044333 h 6105332"/>
              <a:gd name="connsiteX6" fmla="*/ 3966 w 12204251"/>
              <a:gd name="connsiteY6" fmla="*/ 3300381 h 6105332"/>
              <a:gd name="connsiteX7" fmla="*/ 691 w 12204251"/>
              <a:gd name="connsiteY7" fmla="*/ 0 h 6105332"/>
              <a:gd name="connsiteX8" fmla="*/ 8078186 w 12204251"/>
              <a:gd name="connsiteY8" fmla="*/ 2966 h 6105332"/>
              <a:gd name="connsiteX0" fmla="*/ 8078186 w 12192516"/>
              <a:gd name="connsiteY0" fmla="*/ 2966 h 6105332"/>
              <a:gd name="connsiteX1" fmla="*/ 8924186 w 12192516"/>
              <a:gd name="connsiteY1" fmla="*/ 1127665 h 6105332"/>
              <a:gd name="connsiteX2" fmla="*/ 12186019 w 12192516"/>
              <a:gd name="connsiteY2" fmla="*/ 1133408 h 6105332"/>
              <a:gd name="connsiteX3" fmla="*/ 12190606 w 12192516"/>
              <a:gd name="connsiteY3" fmla="*/ 5693807 h 6105332"/>
              <a:gd name="connsiteX4" fmla="*/ 9109440 w 12192516"/>
              <a:gd name="connsiteY4" fmla="*/ 6105332 h 6105332"/>
              <a:gd name="connsiteX5" fmla="*/ 7521420 w 12192516"/>
              <a:gd name="connsiteY5" fmla="*/ 4044333 h 6105332"/>
              <a:gd name="connsiteX6" fmla="*/ 3966 w 12192516"/>
              <a:gd name="connsiteY6" fmla="*/ 3300381 h 6105332"/>
              <a:gd name="connsiteX7" fmla="*/ 691 w 12192516"/>
              <a:gd name="connsiteY7" fmla="*/ 0 h 6105332"/>
              <a:gd name="connsiteX8" fmla="*/ 8078186 w 12192516"/>
              <a:gd name="connsiteY8" fmla="*/ 2966 h 6105332"/>
              <a:gd name="connsiteX0" fmla="*/ 8078186 w 12192516"/>
              <a:gd name="connsiteY0" fmla="*/ 2966 h 6105332"/>
              <a:gd name="connsiteX1" fmla="*/ 8924186 w 12192516"/>
              <a:gd name="connsiteY1" fmla="*/ 1127665 h 6105332"/>
              <a:gd name="connsiteX2" fmla="*/ 12186019 w 12192516"/>
              <a:gd name="connsiteY2" fmla="*/ 1133408 h 6105332"/>
              <a:gd name="connsiteX3" fmla="*/ 12190606 w 12192516"/>
              <a:gd name="connsiteY3" fmla="*/ 5693807 h 6105332"/>
              <a:gd name="connsiteX4" fmla="*/ 9109440 w 12192516"/>
              <a:gd name="connsiteY4" fmla="*/ 6105332 h 6105332"/>
              <a:gd name="connsiteX5" fmla="*/ 7978620 w 12192516"/>
              <a:gd name="connsiteY5" fmla="*/ 4095133 h 6105332"/>
              <a:gd name="connsiteX6" fmla="*/ 3966 w 12192516"/>
              <a:gd name="connsiteY6" fmla="*/ 3300381 h 6105332"/>
              <a:gd name="connsiteX7" fmla="*/ 691 w 12192516"/>
              <a:gd name="connsiteY7" fmla="*/ 0 h 6105332"/>
              <a:gd name="connsiteX8" fmla="*/ 8078186 w 12192516"/>
              <a:gd name="connsiteY8" fmla="*/ 2966 h 6105332"/>
              <a:gd name="connsiteX0" fmla="*/ 8078186 w 12192516"/>
              <a:gd name="connsiteY0" fmla="*/ 2966 h 6118032"/>
              <a:gd name="connsiteX1" fmla="*/ 8924186 w 12192516"/>
              <a:gd name="connsiteY1" fmla="*/ 1127665 h 6118032"/>
              <a:gd name="connsiteX2" fmla="*/ 12186019 w 12192516"/>
              <a:gd name="connsiteY2" fmla="*/ 1133408 h 6118032"/>
              <a:gd name="connsiteX3" fmla="*/ 12190606 w 12192516"/>
              <a:gd name="connsiteY3" fmla="*/ 5693807 h 6118032"/>
              <a:gd name="connsiteX4" fmla="*/ 9553940 w 12192516"/>
              <a:gd name="connsiteY4" fmla="*/ 6118032 h 6118032"/>
              <a:gd name="connsiteX5" fmla="*/ 7978620 w 12192516"/>
              <a:gd name="connsiteY5" fmla="*/ 4095133 h 6118032"/>
              <a:gd name="connsiteX6" fmla="*/ 3966 w 12192516"/>
              <a:gd name="connsiteY6" fmla="*/ 3300381 h 6118032"/>
              <a:gd name="connsiteX7" fmla="*/ 691 w 12192516"/>
              <a:gd name="connsiteY7" fmla="*/ 0 h 6118032"/>
              <a:gd name="connsiteX8" fmla="*/ 8078186 w 12192516"/>
              <a:gd name="connsiteY8" fmla="*/ 2966 h 6118032"/>
              <a:gd name="connsiteX0" fmla="*/ 8078186 w 12192516"/>
              <a:gd name="connsiteY0" fmla="*/ 2966 h 6118032"/>
              <a:gd name="connsiteX1" fmla="*/ 8924186 w 12192516"/>
              <a:gd name="connsiteY1" fmla="*/ 1127665 h 6118032"/>
              <a:gd name="connsiteX2" fmla="*/ 12186019 w 12192516"/>
              <a:gd name="connsiteY2" fmla="*/ 1133408 h 6118032"/>
              <a:gd name="connsiteX3" fmla="*/ 12190606 w 12192516"/>
              <a:gd name="connsiteY3" fmla="*/ 5693807 h 6118032"/>
              <a:gd name="connsiteX4" fmla="*/ 9553940 w 12192516"/>
              <a:gd name="connsiteY4" fmla="*/ 6118032 h 6118032"/>
              <a:gd name="connsiteX5" fmla="*/ 8092920 w 12192516"/>
              <a:gd name="connsiteY5" fmla="*/ 4133233 h 6118032"/>
              <a:gd name="connsiteX6" fmla="*/ 3966 w 12192516"/>
              <a:gd name="connsiteY6" fmla="*/ 3300381 h 6118032"/>
              <a:gd name="connsiteX7" fmla="*/ 691 w 12192516"/>
              <a:gd name="connsiteY7" fmla="*/ 0 h 6118032"/>
              <a:gd name="connsiteX8" fmla="*/ 8078186 w 12192516"/>
              <a:gd name="connsiteY8" fmla="*/ 2966 h 6118032"/>
              <a:gd name="connsiteX0" fmla="*/ 8078186 w 12192516"/>
              <a:gd name="connsiteY0" fmla="*/ 2966 h 6118032"/>
              <a:gd name="connsiteX1" fmla="*/ 8924186 w 12192516"/>
              <a:gd name="connsiteY1" fmla="*/ 1127665 h 6118032"/>
              <a:gd name="connsiteX2" fmla="*/ 12186019 w 12192516"/>
              <a:gd name="connsiteY2" fmla="*/ 1133408 h 6118032"/>
              <a:gd name="connsiteX3" fmla="*/ 12190606 w 12192516"/>
              <a:gd name="connsiteY3" fmla="*/ 5693807 h 6118032"/>
              <a:gd name="connsiteX4" fmla="*/ 9553940 w 12192516"/>
              <a:gd name="connsiteY4" fmla="*/ 6118032 h 6118032"/>
              <a:gd name="connsiteX5" fmla="*/ 8092920 w 12192516"/>
              <a:gd name="connsiteY5" fmla="*/ 4133233 h 6118032"/>
              <a:gd name="connsiteX6" fmla="*/ 3966 w 12192516"/>
              <a:gd name="connsiteY6" fmla="*/ 3770281 h 6118032"/>
              <a:gd name="connsiteX7" fmla="*/ 691 w 12192516"/>
              <a:gd name="connsiteY7" fmla="*/ 0 h 6118032"/>
              <a:gd name="connsiteX8" fmla="*/ 8078186 w 12192516"/>
              <a:gd name="connsiteY8" fmla="*/ 2966 h 6118032"/>
              <a:gd name="connsiteX0" fmla="*/ 8078186 w 12192516"/>
              <a:gd name="connsiteY0" fmla="*/ 2966 h 6118032"/>
              <a:gd name="connsiteX1" fmla="*/ 8924186 w 12192516"/>
              <a:gd name="connsiteY1" fmla="*/ 1127665 h 6118032"/>
              <a:gd name="connsiteX2" fmla="*/ 12186019 w 12192516"/>
              <a:gd name="connsiteY2" fmla="*/ 1133408 h 6118032"/>
              <a:gd name="connsiteX3" fmla="*/ 12190606 w 12192516"/>
              <a:gd name="connsiteY3" fmla="*/ 5693807 h 6118032"/>
              <a:gd name="connsiteX4" fmla="*/ 9553940 w 12192516"/>
              <a:gd name="connsiteY4" fmla="*/ 6118032 h 6118032"/>
              <a:gd name="connsiteX5" fmla="*/ 8092920 w 12192516"/>
              <a:gd name="connsiteY5" fmla="*/ 4133233 h 6118032"/>
              <a:gd name="connsiteX6" fmla="*/ 3966 w 12192516"/>
              <a:gd name="connsiteY6" fmla="*/ 3694081 h 6118032"/>
              <a:gd name="connsiteX7" fmla="*/ 691 w 12192516"/>
              <a:gd name="connsiteY7" fmla="*/ 0 h 6118032"/>
              <a:gd name="connsiteX8" fmla="*/ 8078186 w 12192516"/>
              <a:gd name="connsiteY8" fmla="*/ 2966 h 6118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516" h="6118032">
                <a:moveTo>
                  <a:pt x="8078186" y="2966"/>
                </a:moveTo>
                <a:lnTo>
                  <a:pt x="8924186" y="1127665"/>
                </a:lnTo>
                <a:cubicBezTo>
                  <a:pt x="8918873" y="1127367"/>
                  <a:pt x="11100797" y="1133706"/>
                  <a:pt x="12186019" y="1133408"/>
                </a:cubicBezTo>
                <a:cubicBezTo>
                  <a:pt x="12187921" y="1115690"/>
                  <a:pt x="12196199" y="3972666"/>
                  <a:pt x="12190606" y="5693807"/>
                </a:cubicBezTo>
                <a:lnTo>
                  <a:pt x="9553940" y="6118032"/>
                </a:lnTo>
                <a:lnTo>
                  <a:pt x="8092920" y="4133233"/>
                </a:lnTo>
                <a:lnTo>
                  <a:pt x="3966" y="3694081"/>
                </a:lnTo>
                <a:cubicBezTo>
                  <a:pt x="7292" y="2548492"/>
                  <a:pt x="-2635" y="1145589"/>
                  <a:pt x="691" y="0"/>
                </a:cubicBezTo>
                <a:lnTo>
                  <a:pt x="8078186" y="2966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wrap="square" tIns="792000" anchor="ctr">
            <a:noAutofit/>
          </a:bodyPr>
          <a:lstStyle>
            <a:lvl1pPr algn="ctr">
              <a:defRPr/>
            </a:lvl1pPr>
          </a:lstStyle>
          <a:p>
            <a:endParaRPr lang="de-DE" dirty="0"/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6A8997A4-270C-764B-A93E-26C9FD0699C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1687" y="5697252"/>
            <a:ext cx="5943237" cy="395574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buNone/>
              <a:defRPr/>
            </a:lvl1pPr>
          </a:lstStyle>
          <a:p>
            <a:endParaRPr lang="de-DE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275C9109-D35B-A248-8BB2-B969A46BE20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85873" y="80628"/>
            <a:ext cx="2887568" cy="966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5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68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genda_ein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1ADAB44F-88D4-43A1-9082-D5CD116126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2667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1ADAB44F-88D4-43A1-9082-D5CD116126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813CF70E-1DB3-0649-91A0-900AFDBE39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Agenda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8F87095-3DFD-9649-B8E5-A0A34089739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4500" y="1522413"/>
            <a:ext cx="11341100" cy="4570412"/>
          </a:xfrm>
          <a:prstGeom prst="rect">
            <a:avLst/>
          </a:prstGeom>
        </p:spPr>
        <p:txBody>
          <a:bodyPr>
            <a:normAutofit/>
          </a:bodyPr>
          <a:lstStyle>
            <a:lvl1pPr marL="457200" indent="-457200">
              <a:lnSpc>
                <a:spcPct val="150000"/>
              </a:lnSpc>
              <a:buClr>
                <a:schemeClr val="bg2"/>
              </a:buClr>
              <a:buSzPct val="150000"/>
              <a:buFont typeface="+mj-lt"/>
              <a:buAutoNum type="arabicPeriod"/>
              <a:defRPr sz="2400" b="1"/>
            </a:lvl1pPr>
            <a:lvl2pPr marL="720000" indent="-270000">
              <a:defRPr/>
            </a:lvl2pPr>
            <a:lvl3pPr marL="990000" indent="-270000">
              <a:defRPr/>
            </a:lvl3pPr>
            <a:lvl4pPr marL="1260000" indent="-270000">
              <a:defRPr/>
            </a:lvl4pPr>
            <a:lvl5pPr marL="1530000" indent="-270000">
              <a:defRPr/>
            </a:lvl5pPr>
            <a:lvl6pPr marL="1800000">
              <a:defRPr/>
            </a:lvl6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7F44060A-0824-2D4A-B867-ABAC68C9DCD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C96734-5DBE-48DF-BA7E-9E1B416288D4}" type="datetime1">
              <a:rPr lang="de-DE" smtClean="0"/>
              <a:t>05.08.2020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3A0489B-F356-8A40-AE02-001C6A9DF5D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© TecAlliance GmbH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D685FB72-A0D5-AB48-9FF2-82EBA97B334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E82B8A1-0CCE-4815-9668-383D7DE7D8B4}" type="slidenum">
              <a:rPr lang="de-DE" smtClean="0"/>
              <a:pPr/>
              <a:t>‹#›</a:t>
            </a:fld>
            <a:endParaRPr lang="de-DE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DF5F1A81-63F5-F940-A57A-ED8BD487F45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16888" y="0"/>
            <a:ext cx="4076700" cy="137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926742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genda_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1ADAB44F-88D4-43A1-9082-D5CD116126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3691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1ADAB44F-88D4-43A1-9082-D5CD116126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813CF70E-1DB3-0649-91A0-900AFDBE39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Agenda</a:t>
            </a:r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FF054D53-1797-C349-94D7-80FB84F35C9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4500" y="1522413"/>
            <a:ext cx="5364163" cy="4570412"/>
          </a:xfrm>
          <a:prstGeom prst="rect">
            <a:avLst/>
          </a:prstGeom>
        </p:spPr>
        <p:txBody>
          <a:bodyPr>
            <a:normAutofit/>
          </a:bodyPr>
          <a:lstStyle>
            <a:lvl1pPr marL="457200" indent="-457200">
              <a:lnSpc>
                <a:spcPct val="150000"/>
              </a:lnSpc>
              <a:buClr>
                <a:schemeClr val="bg2"/>
              </a:buClr>
              <a:buSzPct val="150000"/>
              <a:buFont typeface="+mj-lt"/>
              <a:buAutoNum type="arabicPeriod"/>
              <a:defRPr sz="2400" b="1"/>
            </a:lvl1pPr>
            <a:lvl2pPr marL="720000" indent="-270000">
              <a:defRPr/>
            </a:lvl2pPr>
            <a:lvl3pPr marL="990000" indent="-270000">
              <a:defRPr/>
            </a:lvl3pPr>
            <a:lvl4pPr marL="1260000" indent="-270000">
              <a:defRPr/>
            </a:lvl4pPr>
            <a:lvl5pPr marL="1530000" indent="-270000">
              <a:defRPr/>
            </a:lvl5pPr>
            <a:lvl6pPr marL="1800000">
              <a:defRPr/>
            </a:lvl6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2" name="Textplatzhalter 3">
            <a:extLst>
              <a:ext uri="{FF2B5EF4-FFF2-40B4-BE49-F238E27FC236}">
                <a16:creationId xmlns:a16="http://schemas.microsoft.com/office/drawing/2014/main" id="{7DB9BB55-F17F-B545-8DAB-EE0F04019D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88100" y="1522413"/>
            <a:ext cx="5364163" cy="4570412"/>
          </a:xfrm>
          <a:prstGeom prst="rect">
            <a:avLst/>
          </a:prstGeom>
        </p:spPr>
        <p:txBody>
          <a:bodyPr>
            <a:normAutofit/>
          </a:bodyPr>
          <a:lstStyle>
            <a:lvl1pPr marL="457200" indent="-457200">
              <a:lnSpc>
                <a:spcPct val="150000"/>
              </a:lnSpc>
              <a:buClr>
                <a:schemeClr val="bg2"/>
              </a:buClr>
              <a:buSzPct val="150000"/>
              <a:buFont typeface="+mj-lt"/>
              <a:buAutoNum type="arabicPeriod" startAt="5"/>
              <a:defRPr sz="2400" b="1"/>
            </a:lvl1pPr>
            <a:lvl2pPr marL="720000" indent="-270000">
              <a:defRPr/>
            </a:lvl2pPr>
            <a:lvl3pPr marL="990000" indent="-270000">
              <a:defRPr/>
            </a:lvl3pPr>
            <a:lvl4pPr marL="1260000" indent="-270000">
              <a:defRPr/>
            </a:lvl4pPr>
            <a:lvl5pPr marL="1530000" indent="-270000">
              <a:defRPr/>
            </a:lvl5pPr>
            <a:lvl6pPr marL="1800000">
              <a:defRPr/>
            </a:lvl6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1D2951B-BF55-D748-B2F3-0591DAD86EC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792EDBF8-A3FD-47D4-BEC0-BE382EC87B64}" type="datetime1">
              <a:rPr lang="de-DE" smtClean="0"/>
              <a:t>05.08.2020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8699E21-FD66-4F41-9D07-EBF680D1E41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© TecAlliance GmbH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0E20182-CAA0-3648-8FD5-8FCE623ECCD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E82B8A1-0CCE-4815-9668-383D7DE7D8B4}" type="slidenum">
              <a:rPr lang="de-DE" smtClean="0"/>
              <a:pPr/>
              <a:t>‹#›</a:t>
            </a:fld>
            <a:endParaRPr lang="de-DE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8EE78256-CB60-6240-8F99-7133A8AB5FE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V="1">
            <a:off x="8956218" y="0"/>
            <a:ext cx="3252228" cy="1393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241598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F40736A5-4183-4914-9152-7CE13465F1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2040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F40736A5-4183-4914-9152-7CE13465F1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 userDrawn="1"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CA83745-73D2-8045-A215-DD440B5356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7504D9-9782-4702-A8DB-A62BE2DA6F8F}" type="datetime1">
              <a:rPr lang="de-DE" smtClean="0"/>
              <a:t>05.08.2020</a:t>
            </a:fld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754E8AF0-C9DE-8742-8106-F1273E36D9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TecAlliance GmbH</a:t>
            </a:r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DE702A62-24B8-D64B-AD9C-9ACB578330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82B8A1-0CCE-4815-9668-383D7DE7D8B4}" type="slidenum">
              <a:rPr lang="de-DE" smtClean="0"/>
              <a:pPr/>
              <a:t>‹#›</a:t>
            </a:fld>
            <a:endParaRPr lang="de-DE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BFD29758-CE41-3D44-B1DA-6370D6E10B3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16888" y="0"/>
            <a:ext cx="4076700" cy="137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0492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_Text-ein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74F0B35-3022-7F49-8E3F-7327DBD56C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DC2DAE3-F98B-3649-A768-44AAE493A66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4500" y="1527970"/>
            <a:ext cx="11341100" cy="38814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400" b="1"/>
            </a:lvl1pPr>
          </a:lstStyle>
          <a:p>
            <a:endParaRPr lang="de-DE" dirty="0"/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id="{DBCE4F64-32B9-A045-8AC8-500D5CAA362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44500" y="1916113"/>
            <a:ext cx="11341100" cy="4176712"/>
          </a:xfrm>
        </p:spPr>
        <p:txBody>
          <a:bodyPr/>
          <a:lstStyle>
            <a:lvl1pPr>
              <a:defRPr sz="2000"/>
            </a:lvl1pPr>
          </a:lstStyle>
          <a:p>
            <a:r>
              <a:rPr lang="de-DE" dirty="0"/>
              <a:t>Mastertextformat bearbeiten
Zweite Ebene
Dritte Ebene
Vierte Ebene
Fünfte Ebene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D94B72DB-51EA-5548-AD88-C5727EE7BD71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8035814B-5141-4D8A-AA58-C6CA970E313B}" type="datetime1">
              <a:rPr lang="de-DE" smtClean="0"/>
              <a:t>05.08.2020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46BC28F9-1F5F-6848-8A47-3792FB5FA9B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© TecAlliance GmbH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623933FD-6D5C-AB4F-8BEF-7510B7C463A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E82B8A1-0CCE-4815-9668-383D7DE7D8B4}" type="slidenum">
              <a:rPr lang="de-DE" smtClean="0"/>
              <a:pPr/>
              <a:t>‹#›</a:t>
            </a:fld>
            <a:endParaRPr lang="de-DE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471E3913-B03A-DF42-AA84-B07666F0991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V="1">
            <a:off x="8956218" y="0"/>
            <a:ext cx="3252228" cy="1393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741480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_Text-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74F0B35-3022-7F49-8E3F-7327DBD56C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DC2DAE3-F98B-3649-A768-44AAE493A66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4500" y="1527970"/>
            <a:ext cx="5364163" cy="38814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400" b="1"/>
            </a:lvl1pPr>
          </a:lstStyle>
          <a:p>
            <a:endParaRPr lang="de-DE" dirty="0"/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id="{DBCE4F64-32B9-A045-8AC8-500D5CAA362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44500" y="1916113"/>
            <a:ext cx="5364163" cy="4176712"/>
          </a:xfrm>
        </p:spPr>
        <p:txBody>
          <a:bodyPr/>
          <a:lstStyle>
            <a:lvl1pPr>
              <a:defRPr sz="2000"/>
            </a:lvl1pPr>
          </a:lstStyle>
          <a:p>
            <a:r>
              <a:rPr lang="de-DE" dirty="0"/>
              <a:t>Mastertextformat bearbeiten
Zweite Ebene
Dritte Ebene
Vierte Ebene
Fünfte Ebene</a:t>
            </a:r>
          </a:p>
        </p:txBody>
      </p:sp>
      <p:sp>
        <p:nvSpPr>
          <p:cNvPr id="8" name="Textplatzhalter 6">
            <a:extLst>
              <a:ext uri="{FF2B5EF4-FFF2-40B4-BE49-F238E27FC236}">
                <a16:creationId xmlns:a16="http://schemas.microsoft.com/office/drawing/2014/main" id="{758223CE-3815-7841-A076-B7AABE9FAB8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88100" y="1527970"/>
            <a:ext cx="5364163" cy="38814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400" b="1"/>
            </a:lvl1pPr>
          </a:lstStyle>
          <a:p>
            <a:endParaRPr lang="de-DE" dirty="0"/>
          </a:p>
        </p:txBody>
      </p:sp>
      <p:sp>
        <p:nvSpPr>
          <p:cNvPr id="9" name="Inhaltsplatzhalter 10">
            <a:extLst>
              <a:ext uri="{FF2B5EF4-FFF2-40B4-BE49-F238E27FC236}">
                <a16:creationId xmlns:a16="http://schemas.microsoft.com/office/drawing/2014/main" id="{511F0412-B290-5E4D-93E3-F171F29812E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388100" y="1916113"/>
            <a:ext cx="5364163" cy="4176712"/>
          </a:xfrm>
        </p:spPr>
        <p:txBody>
          <a:bodyPr/>
          <a:lstStyle>
            <a:lvl1pPr>
              <a:defRPr sz="2000"/>
            </a:lvl1pPr>
          </a:lstStyle>
          <a:p>
            <a:r>
              <a:rPr lang="de-DE" dirty="0"/>
              <a:t>Mastertextformat bearbeiten
Zweite Ebene
Dritte Ebene
Vierte Ebene
Fünfte Ebene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93A17B10-45E1-4044-8434-40C876D7C0B1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5B79B494-4371-44EB-8B59-A942C9CB71CB}" type="datetime1">
              <a:rPr lang="de-DE" smtClean="0"/>
              <a:t>05.08.2020</a:t>
            </a:fld>
            <a:endParaRPr lang="de-DE" dirty="0"/>
          </a:p>
        </p:txBody>
      </p:sp>
      <p:sp>
        <p:nvSpPr>
          <p:cNvPr id="12" name="Fußzeilenplatzhalter 11">
            <a:extLst>
              <a:ext uri="{FF2B5EF4-FFF2-40B4-BE49-F238E27FC236}">
                <a16:creationId xmlns:a16="http://schemas.microsoft.com/office/drawing/2014/main" id="{6A2BA174-3FC2-194D-8C3B-9467247BE96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© TecAlliance GmbH</a:t>
            </a:r>
            <a:endParaRPr lang="de-DE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A775829D-5959-1947-949C-DEBC9FBB5CB0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CE82B8A1-0CCE-4815-9668-383D7DE7D8B4}" type="slidenum">
              <a:rPr lang="de-DE" smtClean="0"/>
              <a:pPr/>
              <a:t>‹#›</a:t>
            </a:fld>
            <a:endParaRPr lang="de-DE" dirty="0"/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F182EE35-13A1-384B-963B-369ABE511E8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16888" y="0"/>
            <a:ext cx="4076700" cy="137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71118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_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1ADAB44F-88D4-43A1-9082-D5CD116126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9213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1ADAB44F-88D4-43A1-9082-D5CD116126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813CF70E-1DB3-0649-91A0-900AFDBE39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Agenda</a:t>
            </a:r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FF054D53-1797-C349-94D7-80FB84F35C9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4500" y="1522413"/>
            <a:ext cx="5364163" cy="4570412"/>
          </a:xfrm>
          <a:prstGeom prst="rect">
            <a:avLst/>
          </a:prstGeom>
        </p:spPr>
        <p:txBody>
          <a:bodyPr>
            <a:normAutofit/>
          </a:bodyPr>
          <a:lstStyle>
            <a:lvl1pPr marL="457200" indent="-457200">
              <a:lnSpc>
                <a:spcPct val="150000"/>
              </a:lnSpc>
              <a:buClr>
                <a:schemeClr val="bg2"/>
              </a:buClr>
              <a:buSzPct val="150000"/>
              <a:buFont typeface="+mj-lt"/>
              <a:buAutoNum type="arabicPeriod"/>
              <a:defRPr sz="2400" b="1"/>
            </a:lvl1pPr>
            <a:lvl2pPr marL="720000" indent="-270000">
              <a:defRPr sz="2000"/>
            </a:lvl2pPr>
            <a:lvl3pPr marL="990000" indent="-270000">
              <a:defRPr sz="2000"/>
            </a:lvl3pPr>
            <a:lvl4pPr marL="1260000" indent="-270000">
              <a:defRPr sz="2000"/>
            </a:lvl4pPr>
            <a:lvl5pPr marL="1260000" indent="0">
              <a:buFontTx/>
              <a:buNone/>
              <a:defRPr/>
            </a:lvl5pPr>
            <a:lvl6pPr marL="1800000"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2" name="Textplatzhalter 3">
            <a:extLst>
              <a:ext uri="{FF2B5EF4-FFF2-40B4-BE49-F238E27FC236}">
                <a16:creationId xmlns:a16="http://schemas.microsoft.com/office/drawing/2014/main" id="{7DB9BB55-F17F-B545-8DAB-EE0F04019D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88100" y="1522413"/>
            <a:ext cx="5364163" cy="4570412"/>
          </a:xfrm>
          <a:prstGeom prst="rect">
            <a:avLst/>
          </a:prstGeom>
        </p:spPr>
        <p:txBody>
          <a:bodyPr>
            <a:normAutofit/>
          </a:bodyPr>
          <a:lstStyle>
            <a:lvl1pPr marL="457200" indent="-457200">
              <a:lnSpc>
                <a:spcPct val="150000"/>
              </a:lnSpc>
              <a:buClr>
                <a:schemeClr val="bg2"/>
              </a:buClr>
              <a:buSzPct val="150000"/>
              <a:buFont typeface="+mj-lt"/>
              <a:buAutoNum type="arabicPeriod" startAt="5"/>
              <a:defRPr sz="2400" b="1"/>
            </a:lvl1pPr>
            <a:lvl2pPr marL="720000" indent="-270000">
              <a:defRPr sz="2000"/>
            </a:lvl2pPr>
            <a:lvl3pPr marL="990000" indent="-270000">
              <a:defRPr sz="2000"/>
            </a:lvl3pPr>
            <a:lvl4pPr marL="1260000" indent="-270000">
              <a:defRPr sz="2000"/>
            </a:lvl4pPr>
            <a:lvl5pPr marL="1530000" indent="-270000">
              <a:defRPr/>
            </a:lvl5pPr>
            <a:lvl6pPr marL="1800000"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4C11334-A6CF-4246-AA40-420B0EC776C9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2C9B00A8-B463-4505-A77A-DC8449B8B8A0}" type="datetime1">
              <a:rPr lang="de-DE" smtClean="0"/>
              <a:t>05.08.2020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4C46E55-3E73-254C-BE95-3DF6241848E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© TecAlliance GmbH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54AD0B0-F499-0249-A49C-FB847A42793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E82B8A1-0CCE-4815-9668-383D7DE7D8B4}" type="slidenum">
              <a:rPr lang="de-DE" smtClean="0"/>
              <a:pPr/>
              <a:t>‹#›</a:t>
            </a:fld>
            <a:endParaRPr lang="de-DE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F89DAAFB-F841-084B-96BD-16D037A393D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16888" y="0"/>
            <a:ext cx="4076700" cy="137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249853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_Text-dr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74F0B35-3022-7F49-8E3F-7327DBD56C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DC2DAE3-F98B-3649-A768-44AAE493A66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4501" y="1527970"/>
            <a:ext cx="3600066" cy="38814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400" b="1"/>
            </a:lvl1pPr>
          </a:lstStyle>
          <a:p>
            <a:endParaRPr lang="de-DE" dirty="0"/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id="{DBCE4F64-32B9-A045-8AC8-500D5CAA362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44501" y="1916113"/>
            <a:ext cx="3600066" cy="4176712"/>
          </a:xfrm>
        </p:spPr>
        <p:txBody>
          <a:bodyPr/>
          <a:lstStyle>
            <a:lvl1pPr marL="342900" indent="-342900">
              <a:buFont typeface="Wingdings" panose="05000000000000000000" pitchFamily="2" charset="2"/>
              <a:buChar char="§"/>
              <a:defRPr sz="2000"/>
            </a:lvl1pPr>
          </a:lstStyle>
          <a:p>
            <a:r>
              <a:rPr lang="de-DE" dirty="0"/>
              <a:t>Mastertextformat bearbeiten
Zweite Ebene
Dritte Ebene
Vierte Ebene
Fünfte Ebene</a:t>
            </a:r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7BE04367-DC40-2E4F-9692-BE822296151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18001" y="1527970"/>
            <a:ext cx="3600066" cy="38814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400" b="1"/>
            </a:lvl1pPr>
          </a:lstStyle>
          <a:p>
            <a:endParaRPr lang="de-DE" dirty="0"/>
          </a:p>
        </p:txBody>
      </p:sp>
      <p:sp>
        <p:nvSpPr>
          <p:cNvPr id="12" name="Inhaltsplatzhalter 10">
            <a:extLst>
              <a:ext uri="{FF2B5EF4-FFF2-40B4-BE49-F238E27FC236}">
                <a16:creationId xmlns:a16="http://schemas.microsoft.com/office/drawing/2014/main" id="{C3A8C4AD-5490-9C4C-8609-72A1CFE08EC7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318001" y="1916113"/>
            <a:ext cx="3600066" cy="4176712"/>
          </a:xfrm>
        </p:spPr>
        <p:txBody>
          <a:bodyPr/>
          <a:lstStyle>
            <a:lvl1pPr marL="342900" indent="-342900">
              <a:buFont typeface="Wingdings" panose="05000000000000000000" pitchFamily="2" charset="2"/>
              <a:buChar char="§"/>
              <a:defRPr sz="2000"/>
            </a:lvl1pPr>
          </a:lstStyle>
          <a:p>
            <a:r>
              <a:rPr lang="de-DE" dirty="0"/>
              <a:t>Mastertextformat bearbeiten
Zweite Ebene
Dritte Ebene
Vierte Ebene
Fünfte Ebene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427F3449-0B0A-5F41-86DC-AC3C66C5161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153401" y="1527970"/>
            <a:ext cx="3600066" cy="38814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400" b="1"/>
            </a:lvl1pPr>
          </a:lstStyle>
          <a:p>
            <a:endParaRPr lang="de-DE" dirty="0"/>
          </a:p>
        </p:txBody>
      </p:sp>
      <p:sp>
        <p:nvSpPr>
          <p:cNvPr id="14" name="Inhaltsplatzhalter 10">
            <a:extLst>
              <a:ext uri="{FF2B5EF4-FFF2-40B4-BE49-F238E27FC236}">
                <a16:creationId xmlns:a16="http://schemas.microsoft.com/office/drawing/2014/main" id="{0952AFFF-30E0-E84F-90BE-F6A969679287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153401" y="1916113"/>
            <a:ext cx="3600066" cy="4176712"/>
          </a:xfrm>
        </p:spPr>
        <p:txBody>
          <a:bodyPr/>
          <a:lstStyle>
            <a:lvl1pPr marL="342900" indent="-342900">
              <a:buFont typeface="Wingdings" panose="05000000000000000000" pitchFamily="2" charset="2"/>
              <a:buChar char="§"/>
              <a:defRPr sz="2000"/>
            </a:lvl1pPr>
          </a:lstStyle>
          <a:p>
            <a:r>
              <a:rPr lang="de-DE" dirty="0"/>
              <a:t>Mastertextformat bearbeiten
Zweite Ebene
Dritte Ebene
Vierte Ebene
Fünfte Ebene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4497D05B-4D27-344B-960E-F4CD745A0AC6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CD68619D-DC14-4238-B628-DD4A7911793F}" type="datetime1">
              <a:rPr lang="de-DE" smtClean="0"/>
              <a:t>05.08.2020</a:t>
            </a:fld>
            <a:endParaRPr lang="de-DE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23071948-A096-6B42-92A2-EF00E6543964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/>
              <a:t>© TecAlliance GmbH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02D98D2B-C501-B947-BE4E-C401718276D3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CE82B8A1-0CCE-4815-9668-383D7DE7D8B4}" type="slidenum">
              <a:rPr lang="de-DE" smtClean="0"/>
              <a:pPr/>
              <a:t>‹#›</a:t>
            </a:fld>
            <a:endParaRPr lang="de-DE" dirty="0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F954CFDB-4395-B646-AC1D-6AEC43550B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V="1">
            <a:off x="8956218" y="0"/>
            <a:ext cx="3252228" cy="1393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337529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-Text-Bild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F40736A5-4183-4914-9152-7CE13465F1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9850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F40736A5-4183-4914-9152-7CE13465F1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endParaRPr lang="de-DE" dirty="0"/>
          </a:p>
        </p:txBody>
      </p:sp>
      <p:sp>
        <p:nvSpPr>
          <p:cNvPr id="13" name="Bildplatzhalter 11">
            <a:extLst>
              <a:ext uri="{FF2B5EF4-FFF2-40B4-BE49-F238E27FC236}">
                <a16:creationId xmlns:a16="http://schemas.microsoft.com/office/drawing/2014/main" id="{2A285668-9F5C-D749-AEF9-8CA7E4CD8AC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421629" y="1520825"/>
            <a:ext cx="2374918" cy="4572000"/>
          </a:xfrm>
          <a:prstGeom prst="rect">
            <a:avLst/>
          </a:prstGeo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de-DE" dirty="0"/>
          </a:p>
        </p:txBody>
      </p:sp>
      <p:sp>
        <p:nvSpPr>
          <p:cNvPr id="11" name="Textplatzhalter 17">
            <a:extLst>
              <a:ext uri="{FF2B5EF4-FFF2-40B4-BE49-F238E27FC236}">
                <a16:creationId xmlns:a16="http://schemas.microsoft.com/office/drawing/2014/main" id="{237DA572-D940-3242-B653-19BB4EC6DF0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4500" y="1522413"/>
            <a:ext cx="8676630" cy="4570412"/>
          </a:xfrm>
          <a:prstGeom prst="rect">
            <a:avLst/>
          </a:prstGeom>
        </p:spPr>
        <p:txBody>
          <a:bodyPr/>
          <a:lstStyle>
            <a:lvl1pPr marL="342900" indent="-342900">
              <a:buFont typeface="Wingdings" panose="05000000000000000000" pitchFamily="2" charset="2"/>
              <a:buChar char="§"/>
              <a:defRPr sz="2000"/>
            </a:lvl1pPr>
          </a:lstStyle>
          <a:p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463A475-9FEA-A945-BA61-55F98CFC036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2E8B68AB-11EF-42D9-8FB1-6A17A4972AE1}" type="datetime1">
              <a:rPr lang="de-DE" smtClean="0"/>
              <a:t>05.08.2020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F0C6067-CF6A-7C49-97FA-9859151B7F9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© TecAlliance GmbH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A3E4D59-C42C-214D-96AD-820307E4D95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E82B8A1-0CCE-4815-9668-383D7DE7D8B4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388228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-Text-Bild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F40736A5-4183-4914-9152-7CE13465F1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5757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F40736A5-4183-4914-9152-7CE13465F1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endParaRPr lang="de-DE" dirty="0"/>
          </a:p>
        </p:txBody>
      </p:sp>
      <p:sp>
        <p:nvSpPr>
          <p:cNvPr id="11" name="Bildplatzhalter 11">
            <a:extLst>
              <a:ext uri="{FF2B5EF4-FFF2-40B4-BE49-F238E27FC236}">
                <a16:creationId xmlns:a16="http://schemas.microsoft.com/office/drawing/2014/main" id="{11EF4FA8-E1E1-E64E-9043-5458F03868D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378394" y="1535722"/>
            <a:ext cx="5407032" cy="4557103"/>
          </a:xfrm>
          <a:prstGeom prst="rect">
            <a:avLst/>
          </a:prstGeo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de-DE" dirty="0"/>
          </a:p>
        </p:txBody>
      </p:sp>
      <p:sp>
        <p:nvSpPr>
          <p:cNvPr id="12" name="Textplatzhalter 17">
            <a:extLst>
              <a:ext uri="{FF2B5EF4-FFF2-40B4-BE49-F238E27FC236}">
                <a16:creationId xmlns:a16="http://schemas.microsoft.com/office/drawing/2014/main" id="{6454EF1E-C9A0-1847-8581-C062E736519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4500" y="1522413"/>
            <a:ext cx="5364163" cy="4570412"/>
          </a:xfrm>
          <a:prstGeom prst="rect">
            <a:avLst/>
          </a:prstGeom>
        </p:spPr>
        <p:txBody>
          <a:bodyPr/>
          <a:lstStyle>
            <a:lvl1pPr marL="342900" indent="-342900">
              <a:buFont typeface="Wingdings" panose="05000000000000000000" pitchFamily="2" charset="2"/>
              <a:buChar char="§"/>
              <a:defRPr sz="2000"/>
            </a:lvl1pPr>
          </a:lstStyle>
          <a:p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910E1B7-5345-F747-9BEE-5C741852453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03547BAC-5D53-4D1D-B6E0-33C9C44A5AAE}" type="datetime1">
              <a:rPr lang="de-DE" smtClean="0"/>
              <a:t>05.08.2020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D3DDBF8-D102-E645-BFD7-257D158FAE9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© TecAlliance GmbH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E28A47D-AD85-CE4C-BC0C-A5008BB31F8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E82B8A1-0CCE-4815-9668-383D7DE7D8B4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529153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-Text-Bild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F40736A5-4183-4914-9152-7CE13465F1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802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F40736A5-4183-4914-9152-7CE13465F1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endParaRPr lang="de-DE" dirty="0"/>
          </a:p>
        </p:txBody>
      </p:sp>
      <p:sp>
        <p:nvSpPr>
          <p:cNvPr id="13" name="Bildplatzhalter 11">
            <a:extLst>
              <a:ext uri="{FF2B5EF4-FFF2-40B4-BE49-F238E27FC236}">
                <a16:creationId xmlns:a16="http://schemas.microsoft.com/office/drawing/2014/main" id="{6C8C6754-84F1-D14E-A55C-4381BE73CFE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167253" y="1520825"/>
            <a:ext cx="8618173" cy="4572000"/>
          </a:xfrm>
          <a:prstGeom prst="rect">
            <a:avLst/>
          </a:prstGeo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de-DE" dirty="0"/>
          </a:p>
        </p:txBody>
      </p:sp>
      <p:sp>
        <p:nvSpPr>
          <p:cNvPr id="14" name="Textplatzhalter 17">
            <a:extLst>
              <a:ext uri="{FF2B5EF4-FFF2-40B4-BE49-F238E27FC236}">
                <a16:creationId xmlns:a16="http://schemas.microsoft.com/office/drawing/2014/main" id="{3472C6F9-8DFC-044F-B04A-3AED4B95416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4500" y="1522413"/>
            <a:ext cx="2375946" cy="4570412"/>
          </a:xfrm>
          <a:prstGeom prst="rect">
            <a:avLst/>
          </a:prstGeom>
        </p:spPr>
        <p:txBody>
          <a:bodyPr/>
          <a:lstStyle>
            <a:lvl1pPr marL="342900" indent="-342900">
              <a:buFont typeface="Wingdings" panose="05000000000000000000" pitchFamily="2" charset="2"/>
              <a:buChar char="§"/>
              <a:defRPr sz="2000"/>
            </a:lvl1pPr>
          </a:lstStyle>
          <a:p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9B3872E-D1BA-5947-82FC-EE634693B40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1B3E9FD1-4193-45AA-AA56-C7398F775D42}" type="datetime1">
              <a:rPr lang="de-DE" smtClean="0"/>
              <a:t>05.08.2020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D06F245-D9E2-C84E-895B-584B1C1B5EF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© TecAlliance GmbH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B96A7EB-BDBE-F046-A051-0D7079F6CE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E82B8A1-0CCE-4815-9668-383D7DE7D8B4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535530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-Text-Bild_schraeg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F40736A5-4183-4914-9152-7CE13465F1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6927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F40736A5-4183-4914-9152-7CE13465F1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endParaRPr lang="de-DE" dirty="0"/>
          </a:p>
        </p:txBody>
      </p:sp>
      <p:sp>
        <p:nvSpPr>
          <p:cNvPr id="11" name="Bildplatzhalter 11">
            <a:extLst>
              <a:ext uri="{FF2B5EF4-FFF2-40B4-BE49-F238E27FC236}">
                <a16:creationId xmlns:a16="http://schemas.microsoft.com/office/drawing/2014/main" id="{223715E6-AAA3-4247-828A-CEFB7188A5B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680970" y="0"/>
            <a:ext cx="4529686" cy="6858000"/>
          </a:xfrm>
          <a:custGeom>
            <a:avLst/>
            <a:gdLst>
              <a:gd name="connsiteX0" fmla="*/ 0 w 8274464"/>
              <a:gd name="connsiteY0" fmla="*/ 6858000 h 6858000"/>
              <a:gd name="connsiteX1" fmla="*/ 1714500 w 8274464"/>
              <a:gd name="connsiteY1" fmla="*/ 0 h 6858000"/>
              <a:gd name="connsiteX2" fmla="*/ 8274464 w 8274464"/>
              <a:gd name="connsiteY2" fmla="*/ 0 h 6858000"/>
              <a:gd name="connsiteX3" fmla="*/ 6559964 w 8274464"/>
              <a:gd name="connsiteY3" fmla="*/ 6858000 h 6858000"/>
              <a:gd name="connsiteX4" fmla="*/ 0 w 8274464"/>
              <a:gd name="connsiteY4" fmla="*/ 6858000 h 6858000"/>
              <a:gd name="connsiteX0" fmla="*/ 0 w 6559964"/>
              <a:gd name="connsiteY0" fmla="*/ 6858000 h 6858000"/>
              <a:gd name="connsiteX1" fmla="*/ 1714500 w 6559964"/>
              <a:gd name="connsiteY1" fmla="*/ 0 h 6858000"/>
              <a:gd name="connsiteX2" fmla="*/ 5112810 w 6559964"/>
              <a:gd name="connsiteY2" fmla="*/ 271220 h 6858000"/>
              <a:gd name="connsiteX3" fmla="*/ 6559964 w 6559964"/>
              <a:gd name="connsiteY3" fmla="*/ 6858000 h 6858000"/>
              <a:gd name="connsiteX4" fmla="*/ 0 w 6559964"/>
              <a:gd name="connsiteY4" fmla="*/ 6858000 h 6858000"/>
              <a:gd name="connsiteX0" fmla="*/ 0 w 6559964"/>
              <a:gd name="connsiteY0" fmla="*/ 6858000 h 6858000"/>
              <a:gd name="connsiteX1" fmla="*/ 1714500 w 6559964"/>
              <a:gd name="connsiteY1" fmla="*/ 0 h 6858000"/>
              <a:gd name="connsiteX2" fmla="*/ 4523874 w 6559964"/>
              <a:gd name="connsiteY2" fmla="*/ 0 h 6858000"/>
              <a:gd name="connsiteX3" fmla="*/ 6559964 w 6559964"/>
              <a:gd name="connsiteY3" fmla="*/ 6858000 h 6858000"/>
              <a:gd name="connsiteX4" fmla="*/ 0 w 6559964"/>
              <a:gd name="connsiteY4" fmla="*/ 6858000 h 6858000"/>
              <a:gd name="connsiteX0" fmla="*/ 0 w 4523874"/>
              <a:gd name="connsiteY0" fmla="*/ 6858000 h 6858000"/>
              <a:gd name="connsiteX1" fmla="*/ 1714500 w 4523874"/>
              <a:gd name="connsiteY1" fmla="*/ 0 h 6858000"/>
              <a:gd name="connsiteX2" fmla="*/ 4523874 w 4523874"/>
              <a:gd name="connsiteY2" fmla="*/ 0 h 6858000"/>
              <a:gd name="connsiteX3" fmla="*/ 3878757 w 4523874"/>
              <a:gd name="connsiteY3" fmla="*/ 6641023 h 6858000"/>
              <a:gd name="connsiteX4" fmla="*/ 0 w 4523874"/>
              <a:gd name="connsiteY4" fmla="*/ 6858000 h 6858000"/>
              <a:gd name="connsiteX0" fmla="*/ 0 w 4529686"/>
              <a:gd name="connsiteY0" fmla="*/ 6858000 h 6858000"/>
              <a:gd name="connsiteX1" fmla="*/ 1714500 w 4529686"/>
              <a:gd name="connsiteY1" fmla="*/ 0 h 6858000"/>
              <a:gd name="connsiteX2" fmla="*/ 4523874 w 4529686"/>
              <a:gd name="connsiteY2" fmla="*/ 0 h 6858000"/>
              <a:gd name="connsiteX3" fmla="*/ 4529686 w 4529686"/>
              <a:gd name="connsiteY3" fmla="*/ 6850250 h 6858000"/>
              <a:gd name="connsiteX4" fmla="*/ 0 w 4529686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29686" h="6858000">
                <a:moveTo>
                  <a:pt x="0" y="6858000"/>
                </a:moveTo>
                <a:lnTo>
                  <a:pt x="1714500" y="0"/>
                </a:lnTo>
                <a:lnTo>
                  <a:pt x="4523874" y="0"/>
                </a:lnTo>
                <a:cubicBezTo>
                  <a:pt x="4525811" y="2283417"/>
                  <a:pt x="4527749" y="4566833"/>
                  <a:pt x="4529686" y="6850250"/>
                </a:cubicBez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de-DE" dirty="0"/>
          </a:p>
        </p:txBody>
      </p:sp>
      <p:sp>
        <p:nvSpPr>
          <p:cNvPr id="14" name="Textplatzhalter 17">
            <a:extLst>
              <a:ext uri="{FF2B5EF4-FFF2-40B4-BE49-F238E27FC236}">
                <a16:creationId xmlns:a16="http://schemas.microsoft.com/office/drawing/2014/main" id="{E3CC3146-83F6-DA46-BF5F-F23F150FAA0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4500" y="1522413"/>
            <a:ext cx="7236470" cy="4570412"/>
          </a:xfrm>
          <a:prstGeom prst="rect">
            <a:avLst/>
          </a:prstGeom>
        </p:spPr>
        <p:txBody>
          <a:bodyPr/>
          <a:lstStyle>
            <a:lvl1pPr marL="342900" indent="-342900">
              <a:buFont typeface="Wingdings" panose="05000000000000000000" pitchFamily="2" charset="2"/>
              <a:buChar char="§"/>
              <a:defRPr sz="2000"/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114185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-Text-Bild_schraeg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F40736A5-4183-4914-9152-7CE13465F1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5906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F40736A5-4183-4914-9152-7CE13465F1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endParaRPr lang="de-DE" dirty="0"/>
          </a:p>
        </p:txBody>
      </p:sp>
      <p:sp>
        <p:nvSpPr>
          <p:cNvPr id="11" name="Bildplatzhalter 11">
            <a:extLst>
              <a:ext uri="{FF2B5EF4-FFF2-40B4-BE49-F238E27FC236}">
                <a16:creationId xmlns:a16="http://schemas.microsoft.com/office/drawing/2014/main" id="{11EF4FA8-E1E1-E64E-9043-5458F03868D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808663" y="5283"/>
            <a:ext cx="6386499" cy="6858000"/>
          </a:xfrm>
          <a:custGeom>
            <a:avLst/>
            <a:gdLst>
              <a:gd name="connsiteX0" fmla="*/ 0 w 8100999"/>
              <a:gd name="connsiteY0" fmla="*/ 6858000 h 6858000"/>
              <a:gd name="connsiteX1" fmla="*/ 1714500 w 8100999"/>
              <a:gd name="connsiteY1" fmla="*/ 0 h 6858000"/>
              <a:gd name="connsiteX2" fmla="*/ 8100999 w 8100999"/>
              <a:gd name="connsiteY2" fmla="*/ 0 h 6858000"/>
              <a:gd name="connsiteX3" fmla="*/ 6386499 w 8100999"/>
              <a:gd name="connsiteY3" fmla="*/ 6858000 h 6858000"/>
              <a:gd name="connsiteX4" fmla="*/ 0 w 8100999"/>
              <a:gd name="connsiteY4" fmla="*/ 6858000 h 6858000"/>
              <a:gd name="connsiteX0" fmla="*/ 0 w 6386499"/>
              <a:gd name="connsiteY0" fmla="*/ 6858000 h 6858000"/>
              <a:gd name="connsiteX1" fmla="*/ 1714500 w 6386499"/>
              <a:gd name="connsiteY1" fmla="*/ 0 h 6858000"/>
              <a:gd name="connsiteX2" fmla="*/ 6089319 w 6386499"/>
              <a:gd name="connsiteY2" fmla="*/ 685800 h 6858000"/>
              <a:gd name="connsiteX3" fmla="*/ 6386499 w 6386499"/>
              <a:gd name="connsiteY3" fmla="*/ 6858000 h 6858000"/>
              <a:gd name="connsiteX4" fmla="*/ 0 w 6386499"/>
              <a:gd name="connsiteY4" fmla="*/ 6858000 h 6858000"/>
              <a:gd name="connsiteX0" fmla="*/ 0 w 6386499"/>
              <a:gd name="connsiteY0" fmla="*/ 6858000 h 6858000"/>
              <a:gd name="connsiteX1" fmla="*/ 1714500 w 6386499"/>
              <a:gd name="connsiteY1" fmla="*/ 0 h 6858000"/>
              <a:gd name="connsiteX2" fmla="*/ 6378879 w 6386499"/>
              <a:gd name="connsiteY2" fmla="*/ 0 h 6858000"/>
              <a:gd name="connsiteX3" fmla="*/ 6386499 w 6386499"/>
              <a:gd name="connsiteY3" fmla="*/ 6858000 h 6858000"/>
              <a:gd name="connsiteX4" fmla="*/ 0 w 6386499"/>
              <a:gd name="connsiteY4" fmla="*/ 6858000 h 6858000"/>
              <a:gd name="connsiteX0" fmla="*/ 0 w 6386499"/>
              <a:gd name="connsiteY0" fmla="*/ 6858000 h 6858000"/>
              <a:gd name="connsiteX1" fmla="*/ 1714500 w 6386499"/>
              <a:gd name="connsiteY1" fmla="*/ 0 h 6858000"/>
              <a:gd name="connsiteX2" fmla="*/ 6378879 w 6386499"/>
              <a:gd name="connsiteY2" fmla="*/ 0 h 6858000"/>
              <a:gd name="connsiteX3" fmla="*/ 6386499 w 6386499"/>
              <a:gd name="connsiteY3" fmla="*/ 6858000 h 6858000"/>
              <a:gd name="connsiteX4" fmla="*/ 0 w 6386499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86499" h="6858000">
                <a:moveTo>
                  <a:pt x="0" y="6858000"/>
                </a:moveTo>
                <a:lnTo>
                  <a:pt x="1714500" y="0"/>
                </a:lnTo>
                <a:lnTo>
                  <a:pt x="6378879" y="0"/>
                </a:lnTo>
                <a:lnTo>
                  <a:pt x="6386499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de-DE" dirty="0"/>
          </a:p>
        </p:txBody>
      </p:sp>
      <p:sp>
        <p:nvSpPr>
          <p:cNvPr id="13" name="Textplatzhalter 17">
            <a:extLst>
              <a:ext uri="{FF2B5EF4-FFF2-40B4-BE49-F238E27FC236}">
                <a16:creationId xmlns:a16="http://schemas.microsoft.com/office/drawing/2014/main" id="{1F0F6D60-5A55-F641-9387-757B0B2A194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4500" y="1522413"/>
            <a:ext cx="5364163" cy="4570412"/>
          </a:xfrm>
          <a:prstGeom prst="rect">
            <a:avLst/>
          </a:prstGeom>
        </p:spPr>
        <p:txBody>
          <a:bodyPr numCol="1"/>
          <a:lstStyle>
            <a:lvl1pPr marL="342900" indent="-342900">
              <a:buFont typeface="Wingdings" panose="05000000000000000000" pitchFamily="2" charset="2"/>
              <a:buChar char="§"/>
              <a:defRPr sz="2000"/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642166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-Text-Bild_schraeg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F40736A5-4183-4914-9152-7CE13465F1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7230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F40736A5-4183-4914-9152-7CE13465F1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endParaRPr lang="de-DE" dirty="0"/>
          </a:p>
        </p:txBody>
      </p:sp>
      <p:sp>
        <p:nvSpPr>
          <p:cNvPr id="14" name="Textplatzhalter 17">
            <a:extLst>
              <a:ext uri="{FF2B5EF4-FFF2-40B4-BE49-F238E27FC236}">
                <a16:creationId xmlns:a16="http://schemas.microsoft.com/office/drawing/2014/main" id="{D7BC72B4-BDAF-A149-B8BE-AF3D4493EEC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4500" y="1522413"/>
            <a:ext cx="3636070" cy="4570412"/>
          </a:xfrm>
          <a:prstGeom prst="rect">
            <a:avLst/>
          </a:prstGeom>
        </p:spPr>
        <p:txBody>
          <a:bodyPr/>
          <a:lstStyle>
            <a:lvl1pPr marL="342900" indent="-342900">
              <a:buFont typeface="Wingdings" panose="05000000000000000000" pitchFamily="2" charset="2"/>
              <a:buChar char="§"/>
              <a:defRPr sz="2000"/>
            </a:lvl1pPr>
          </a:lstStyle>
          <a:p>
            <a:endParaRPr lang="de-DE" dirty="0"/>
          </a:p>
        </p:txBody>
      </p:sp>
      <p:sp>
        <p:nvSpPr>
          <p:cNvPr id="6" name="Bildplatzhalter 11">
            <a:extLst>
              <a:ext uri="{FF2B5EF4-FFF2-40B4-BE49-F238E27FC236}">
                <a16:creationId xmlns:a16="http://schemas.microsoft.com/office/drawing/2014/main" id="{FCD5484B-3A21-FF43-8D2D-2B239AEDDF7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080568" y="0"/>
            <a:ext cx="8138753" cy="6865750"/>
          </a:xfrm>
          <a:custGeom>
            <a:avLst/>
            <a:gdLst>
              <a:gd name="connsiteX0" fmla="*/ 0 w 11914528"/>
              <a:gd name="connsiteY0" fmla="*/ 6858000 h 6858000"/>
              <a:gd name="connsiteX1" fmla="*/ 1714500 w 11914528"/>
              <a:gd name="connsiteY1" fmla="*/ 0 h 6858000"/>
              <a:gd name="connsiteX2" fmla="*/ 11914528 w 11914528"/>
              <a:gd name="connsiteY2" fmla="*/ 0 h 6858000"/>
              <a:gd name="connsiteX3" fmla="*/ 10200028 w 11914528"/>
              <a:gd name="connsiteY3" fmla="*/ 6858000 h 6858000"/>
              <a:gd name="connsiteX4" fmla="*/ 0 w 11914528"/>
              <a:gd name="connsiteY4" fmla="*/ 6858000 h 6858000"/>
              <a:gd name="connsiteX0" fmla="*/ 0 w 10200028"/>
              <a:gd name="connsiteY0" fmla="*/ 6858000 h 6858000"/>
              <a:gd name="connsiteX1" fmla="*/ 1714500 w 10200028"/>
              <a:gd name="connsiteY1" fmla="*/ 0 h 6858000"/>
              <a:gd name="connsiteX2" fmla="*/ 8109694 w 10200028"/>
              <a:gd name="connsiteY2" fmla="*/ 619932 h 6858000"/>
              <a:gd name="connsiteX3" fmla="*/ 10200028 w 10200028"/>
              <a:gd name="connsiteY3" fmla="*/ 6858000 h 6858000"/>
              <a:gd name="connsiteX4" fmla="*/ 0 w 10200028"/>
              <a:gd name="connsiteY4" fmla="*/ 6858000 h 6858000"/>
              <a:gd name="connsiteX0" fmla="*/ 0 w 10200028"/>
              <a:gd name="connsiteY0" fmla="*/ 6858000 h 6858000"/>
              <a:gd name="connsiteX1" fmla="*/ 1714500 w 10200028"/>
              <a:gd name="connsiteY1" fmla="*/ 0 h 6858000"/>
              <a:gd name="connsiteX2" fmla="*/ 9380555 w 10200028"/>
              <a:gd name="connsiteY2" fmla="*/ 0 h 6858000"/>
              <a:gd name="connsiteX3" fmla="*/ 10200028 w 10200028"/>
              <a:gd name="connsiteY3" fmla="*/ 6858000 h 6858000"/>
              <a:gd name="connsiteX4" fmla="*/ 0 w 10200028"/>
              <a:gd name="connsiteY4" fmla="*/ 6858000 h 6858000"/>
              <a:gd name="connsiteX0" fmla="*/ 0 w 9380555"/>
              <a:gd name="connsiteY0" fmla="*/ 6858000 h 6858000"/>
              <a:gd name="connsiteX1" fmla="*/ 1714500 w 9380555"/>
              <a:gd name="connsiteY1" fmla="*/ 0 h 6858000"/>
              <a:gd name="connsiteX2" fmla="*/ 9380555 w 9380555"/>
              <a:gd name="connsiteY2" fmla="*/ 0 h 6858000"/>
              <a:gd name="connsiteX3" fmla="*/ 8347981 w 9380555"/>
              <a:gd name="connsiteY3" fmla="*/ 6447295 h 6858000"/>
              <a:gd name="connsiteX4" fmla="*/ 0 w 9380555"/>
              <a:gd name="connsiteY4" fmla="*/ 6858000 h 6858000"/>
              <a:gd name="connsiteX0" fmla="*/ 0 w 9380555"/>
              <a:gd name="connsiteY0" fmla="*/ 6858000 h 6858000"/>
              <a:gd name="connsiteX1" fmla="*/ 1714500 w 9380555"/>
              <a:gd name="connsiteY1" fmla="*/ 0 h 6858000"/>
              <a:gd name="connsiteX2" fmla="*/ 9380555 w 9380555"/>
              <a:gd name="connsiteY2" fmla="*/ 0 h 6858000"/>
              <a:gd name="connsiteX3" fmla="*/ 9370869 w 9380555"/>
              <a:gd name="connsiteY3" fmla="*/ 6850251 h 6858000"/>
              <a:gd name="connsiteX4" fmla="*/ 0 w 9380555"/>
              <a:gd name="connsiteY4" fmla="*/ 6858000 h 6858000"/>
              <a:gd name="connsiteX0" fmla="*/ 0 w 9370876"/>
              <a:gd name="connsiteY0" fmla="*/ 6858000 h 6858000"/>
              <a:gd name="connsiteX1" fmla="*/ 1714500 w 9370876"/>
              <a:gd name="connsiteY1" fmla="*/ 0 h 6858000"/>
              <a:gd name="connsiteX2" fmla="*/ 8373165 w 9370876"/>
              <a:gd name="connsiteY2" fmla="*/ 302217 h 6858000"/>
              <a:gd name="connsiteX3" fmla="*/ 9370869 w 9370876"/>
              <a:gd name="connsiteY3" fmla="*/ 6850251 h 6858000"/>
              <a:gd name="connsiteX4" fmla="*/ 0 w 9370876"/>
              <a:gd name="connsiteY4" fmla="*/ 6858000 h 6858000"/>
              <a:gd name="connsiteX0" fmla="*/ 0 w 9370875"/>
              <a:gd name="connsiteY0" fmla="*/ 6858000 h 6858000"/>
              <a:gd name="connsiteX1" fmla="*/ 1714500 w 9370875"/>
              <a:gd name="connsiteY1" fmla="*/ 0 h 6858000"/>
              <a:gd name="connsiteX2" fmla="*/ 8125192 w 9370875"/>
              <a:gd name="connsiteY2" fmla="*/ 0 h 6858000"/>
              <a:gd name="connsiteX3" fmla="*/ 9370869 w 9370875"/>
              <a:gd name="connsiteY3" fmla="*/ 6850251 h 6858000"/>
              <a:gd name="connsiteX4" fmla="*/ 0 w 9370875"/>
              <a:gd name="connsiteY4" fmla="*/ 6858000 h 6858000"/>
              <a:gd name="connsiteX0" fmla="*/ 0 w 8125192"/>
              <a:gd name="connsiteY0" fmla="*/ 6858000 h 6858000"/>
              <a:gd name="connsiteX1" fmla="*/ 1714500 w 8125192"/>
              <a:gd name="connsiteY1" fmla="*/ 0 h 6858000"/>
              <a:gd name="connsiteX2" fmla="*/ 8125192 w 8125192"/>
              <a:gd name="connsiteY2" fmla="*/ 0 h 6858000"/>
              <a:gd name="connsiteX3" fmla="*/ 7402584 w 8125192"/>
              <a:gd name="connsiteY3" fmla="*/ 6641024 h 6858000"/>
              <a:gd name="connsiteX4" fmla="*/ 0 w 8125192"/>
              <a:gd name="connsiteY4" fmla="*/ 6858000 h 6858000"/>
              <a:gd name="connsiteX0" fmla="*/ 0 w 8139106"/>
              <a:gd name="connsiteY0" fmla="*/ 6858000 h 6865750"/>
              <a:gd name="connsiteX1" fmla="*/ 1714500 w 8139106"/>
              <a:gd name="connsiteY1" fmla="*/ 0 h 6865750"/>
              <a:gd name="connsiteX2" fmla="*/ 8125192 w 8139106"/>
              <a:gd name="connsiteY2" fmla="*/ 0 h 6865750"/>
              <a:gd name="connsiteX3" fmla="*/ 8138753 w 8139106"/>
              <a:gd name="connsiteY3" fmla="*/ 6865750 h 6865750"/>
              <a:gd name="connsiteX4" fmla="*/ 0 w 8139106"/>
              <a:gd name="connsiteY4" fmla="*/ 6858000 h 6865750"/>
              <a:gd name="connsiteX0" fmla="*/ 0 w 8138753"/>
              <a:gd name="connsiteY0" fmla="*/ 6858000 h 6865750"/>
              <a:gd name="connsiteX1" fmla="*/ 1714500 w 8138753"/>
              <a:gd name="connsiteY1" fmla="*/ 0 h 6865750"/>
              <a:gd name="connsiteX2" fmla="*/ 8125192 w 8138753"/>
              <a:gd name="connsiteY2" fmla="*/ 0 h 6865750"/>
              <a:gd name="connsiteX3" fmla="*/ 8138753 w 8138753"/>
              <a:gd name="connsiteY3" fmla="*/ 6865750 h 6865750"/>
              <a:gd name="connsiteX4" fmla="*/ 0 w 8138753"/>
              <a:gd name="connsiteY4" fmla="*/ 6858000 h 6865750"/>
              <a:gd name="connsiteX0" fmla="*/ 0 w 8138753"/>
              <a:gd name="connsiteY0" fmla="*/ 6858000 h 6865750"/>
              <a:gd name="connsiteX1" fmla="*/ 1714500 w 8138753"/>
              <a:gd name="connsiteY1" fmla="*/ 0 h 6865750"/>
              <a:gd name="connsiteX2" fmla="*/ 8125192 w 8138753"/>
              <a:gd name="connsiteY2" fmla="*/ 0 h 6865750"/>
              <a:gd name="connsiteX3" fmla="*/ 8138753 w 8138753"/>
              <a:gd name="connsiteY3" fmla="*/ 6865750 h 6865750"/>
              <a:gd name="connsiteX4" fmla="*/ 0 w 8138753"/>
              <a:gd name="connsiteY4" fmla="*/ 6858000 h 6865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38753" h="6865750">
                <a:moveTo>
                  <a:pt x="0" y="6858000"/>
                </a:moveTo>
                <a:lnTo>
                  <a:pt x="1714500" y="0"/>
                </a:lnTo>
                <a:lnTo>
                  <a:pt x="8125192" y="0"/>
                </a:lnTo>
                <a:cubicBezTo>
                  <a:pt x="8131972" y="3432875"/>
                  <a:pt x="8131972" y="3432875"/>
                  <a:pt x="8138753" y="6865750"/>
                </a:cubicBez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135731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F40736A5-4183-4914-9152-7CE13465F1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5341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F40736A5-4183-4914-9152-7CE13465F1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2">
            <a:extLst>
              <a:ext uri="{FF2B5EF4-FFF2-40B4-BE49-F238E27FC236}">
                <a16:creationId xmlns:a16="http://schemas.microsoft.com/office/drawing/2014/main" id="{C3616117-93D9-AF45-8F50-0C4278A242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8460" y="1531093"/>
            <a:ext cx="8028558" cy="2326791"/>
          </a:xfrm>
        </p:spPr>
        <p:txBody>
          <a:bodyPr>
            <a:spAutoFit/>
          </a:bodyPr>
          <a:lstStyle>
            <a:lvl1pPr>
              <a:defRPr sz="56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Hier könnte ein Zitat oder eine andere Aussage auf dem Hintergrund steh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22A2AB4-DB52-5E44-B0FA-C69BC245042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44500" y="765176"/>
            <a:ext cx="8028558" cy="755650"/>
          </a:xfrm>
          <a:prstGeom prst="rect">
            <a:avLst/>
          </a:prstGeom>
        </p:spPr>
        <p:txBody>
          <a:bodyPr wrap="square" tIns="0" numCol="1" anchor="t" anchorCtr="0">
            <a:noAutofit/>
          </a:bodyPr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Zitatgeber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809F99A3-8422-8F40-B07D-DCB600E9092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16888" y="0"/>
            <a:ext cx="4076700" cy="137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49902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Zitat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F40736A5-4183-4914-9152-7CE13465F1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4713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F40736A5-4183-4914-9152-7CE13465F1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platzhalter 7">
            <a:extLst>
              <a:ext uri="{FF2B5EF4-FFF2-40B4-BE49-F238E27FC236}">
                <a16:creationId xmlns:a16="http://schemas.microsoft.com/office/drawing/2014/main" id="{FC7BDCBC-2C38-A845-B178-819166A7D57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44500" y="765176"/>
            <a:ext cx="7200466" cy="755650"/>
          </a:xfrm>
          <a:prstGeom prst="rect">
            <a:avLst/>
          </a:prstGeom>
        </p:spPr>
        <p:txBody>
          <a:bodyPr wrap="square" tIns="0" numCol="1" anchor="t" anchorCtr="0">
            <a:noAutofit/>
          </a:bodyPr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Zitatgeber</a:t>
            </a:r>
          </a:p>
        </p:txBody>
      </p:sp>
      <p:sp>
        <p:nvSpPr>
          <p:cNvPr id="9" name="Titel 2">
            <a:extLst>
              <a:ext uri="{FF2B5EF4-FFF2-40B4-BE49-F238E27FC236}">
                <a16:creationId xmlns:a16="http://schemas.microsoft.com/office/drawing/2014/main" id="{FA055BAC-BC84-9044-8851-A2B67F00C7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8460" y="1531093"/>
            <a:ext cx="7196506" cy="2326791"/>
          </a:xfrm>
        </p:spPr>
        <p:txBody>
          <a:bodyPr wrap="square">
            <a:spAutoFit/>
          </a:bodyPr>
          <a:lstStyle>
            <a:lvl1pPr>
              <a:defRPr sz="56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Hier könnte ein Zitat neben einem Foto des Zitierten stehen.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2D68FDB3-5082-6E45-8CBC-496F776FFA3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005006" y="1531093"/>
            <a:ext cx="3780594" cy="4561732"/>
          </a:xfrm>
          <a:prstGeom prst="rect">
            <a:avLst/>
          </a:prstGeom>
          <a:solidFill>
            <a:srgbClr val="C2D0D8"/>
          </a:solidFill>
          <a:ln w="34925">
            <a:solidFill>
              <a:schemeClr val="bg1"/>
            </a:solidFill>
            <a:miter lim="800000"/>
          </a:ln>
        </p:spPr>
        <p:txBody>
          <a:bodyPr/>
          <a:lstStyle/>
          <a:p>
            <a:r>
              <a:rPr lang="de-DE" dirty="0"/>
              <a:t> 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08C8B672-395A-AB45-814E-48E07E85473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V="1">
            <a:off x="8956218" y="0"/>
            <a:ext cx="3252228" cy="1393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12360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Zitat_Anfuehrungszeich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F40736A5-4183-4914-9152-7CE13465F1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7781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F40736A5-4183-4914-9152-7CE13465F1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el 2">
            <a:extLst>
              <a:ext uri="{FF2B5EF4-FFF2-40B4-BE49-F238E27FC236}">
                <a16:creationId xmlns:a16="http://schemas.microsoft.com/office/drawing/2014/main" id="{8B8AD990-BC60-A949-AB3A-39C5F67B87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08655" y="1520826"/>
            <a:ext cx="8816945" cy="3025370"/>
          </a:xfrm>
        </p:spPr>
        <p:txBody>
          <a:bodyPr/>
          <a:lstStyle>
            <a:lvl1pPr algn="l">
              <a:defRPr sz="56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Hier könnte ein Zitat oder </a:t>
            </a:r>
            <a:br>
              <a:rPr lang="de-DE" dirty="0"/>
            </a:br>
            <a:r>
              <a:rPr lang="de-DE" dirty="0"/>
              <a:t>eine andere Aussage auf </a:t>
            </a:r>
            <a:br>
              <a:rPr lang="de-DE" dirty="0"/>
            </a:br>
            <a:r>
              <a:rPr lang="de-DE" dirty="0"/>
              <a:t>dem Hintergrund stehen.</a:t>
            </a:r>
            <a:br>
              <a:rPr lang="de-DE" dirty="0"/>
            </a:br>
            <a:r>
              <a:rPr lang="de-DE" dirty="0"/>
              <a:t>Mit ca. 4 Zeilen.</a:t>
            </a:r>
          </a:p>
        </p:txBody>
      </p:sp>
      <p:sp>
        <p:nvSpPr>
          <p:cNvPr id="12" name="Textplatzhalter 7">
            <a:extLst>
              <a:ext uri="{FF2B5EF4-FFF2-40B4-BE49-F238E27FC236}">
                <a16:creationId xmlns:a16="http://schemas.microsoft.com/office/drawing/2014/main" id="{A9B7E748-A27F-FF48-96B7-01E9951E447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00185" y="765176"/>
            <a:ext cx="8825415" cy="755650"/>
          </a:xfrm>
          <a:prstGeom prst="rect">
            <a:avLst/>
          </a:prstGeom>
        </p:spPr>
        <p:txBody>
          <a:bodyPr wrap="square" tIns="0" numCol="1" anchor="t" anchorCtr="0">
            <a:noAutofit/>
          </a:bodyPr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Zitatgeber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ED19847-9A32-EF49-AF19-7008109E979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44500" y="2817408"/>
            <a:ext cx="1255685" cy="1728788"/>
          </a:xfrm>
        </p:spPr>
        <p:txBody>
          <a:bodyPr/>
          <a:lstStyle>
            <a:lvl1pPr>
              <a:defRPr sz="18500" b="1"/>
            </a:lvl1pPr>
          </a:lstStyle>
          <a:p>
            <a:r>
              <a:rPr lang="de-DE" dirty="0"/>
              <a:t>„</a:t>
            </a:r>
          </a:p>
        </p:txBody>
      </p:sp>
      <p:sp>
        <p:nvSpPr>
          <p:cNvPr id="15" name="Textplatzhalter 4">
            <a:extLst>
              <a:ext uri="{FF2B5EF4-FFF2-40B4-BE49-F238E27FC236}">
                <a16:creationId xmlns:a16="http://schemas.microsoft.com/office/drawing/2014/main" id="{65FFC5F4-9F26-E343-9732-41D95FED288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534070" y="441325"/>
            <a:ext cx="1232480" cy="4104871"/>
          </a:xfrm>
        </p:spPr>
        <p:txBody>
          <a:bodyPr/>
          <a:lstStyle>
            <a:lvl1pPr>
              <a:defRPr sz="18500" b="1"/>
            </a:lvl1pPr>
          </a:lstStyle>
          <a:p>
            <a:r>
              <a:rPr lang="de-DE" dirty="0"/>
              <a:t>“</a:t>
            </a:r>
          </a:p>
        </p:txBody>
      </p:sp>
    </p:spTree>
    <p:extLst>
      <p:ext uri="{BB962C8B-B14F-4D97-AF65-F5344CB8AC3E}">
        <p14:creationId xmlns:p14="http://schemas.microsoft.com/office/powerpoint/2010/main" val="38519739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F40736A5-4183-4914-9152-7CE13465F1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7541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F40736A5-4183-4914-9152-7CE13465F1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 userDrawn="1">
            <p:ph type="title"/>
          </p:nvPr>
        </p:nvSpPr>
        <p:spPr>
          <a:xfrm>
            <a:off x="444500" y="441324"/>
            <a:ext cx="11340926" cy="68421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B1801DC-EF51-044E-B024-EB332B8B92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FBE932-5687-4DE3-9076-64253DD6AFB0}" type="datetime1">
              <a:rPr lang="de-DE" smtClean="0"/>
              <a:t>05.08.2020</a:t>
            </a:fld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66671847-8EBC-8B46-8904-5D48EAF516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TecAlliance GmbH</a:t>
            </a:r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4B7BF242-3ADD-CF45-A1D5-3CE5DB4B37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82B8A1-0CCE-4815-9668-383D7DE7D8B4}" type="slidenum">
              <a:rPr lang="de-DE" smtClean="0"/>
              <a:pPr/>
              <a:t>‹#›</a:t>
            </a:fld>
            <a:endParaRPr lang="de-DE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4E966C60-D265-5C4C-B2F9-3256CF3576C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V="1">
            <a:off x="8956217" y="0"/>
            <a:ext cx="3252230" cy="1393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4919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Kontakt_Ein-Person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BE9203E-716F-4457-BFFC-A198FD4BFA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endParaRPr lang="de-DE" sz="3200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BAE4380-57F6-4E6D-B2B8-C7D3BACA8D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250146-C4E7-49F0-A782-A8BC410265E6}" type="datetime1">
              <a:rPr lang="de-DE" smtClean="0"/>
              <a:t>05.08.2020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64A099A-160A-498D-817F-6BFE02D74D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TecAlliance GmbH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743A502-0A03-48D2-9C8A-5591AEAEE3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82B8A1-0CCE-4815-9668-383D7DE7D8B4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9" name="Bildplatzhalter 5">
            <a:extLst>
              <a:ext uri="{FF2B5EF4-FFF2-40B4-BE49-F238E27FC236}">
                <a16:creationId xmlns:a16="http://schemas.microsoft.com/office/drawing/2014/main" id="{D8E6C40F-25FA-4EB7-837B-8E56DF5D8C7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8790" y="2498106"/>
            <a:ext cx="1584325" cy="1882377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de-DE" dirty="0"/>
          </a:p>
        </p:txBody>
      </p:sp>
      <p:sp>
        <p:nvSpPr>
          <p:cNvPr id="20" name="Textplatzhalter 2">
            <a:extLst>
              <a:ext uri="{FF2B5EF4-FFF2-40B4-BE49-F238E27FC236}">
                <a16:creationId xmlns:a16="http://schemas.microsoft.com/office/drawing/2014/main" id="{0944BC2A-23FE-465C-BC61-ADC64B402776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2554405" y="2492896"/>
            <a:ext cx="7755449" cy="342000"/>
          </a:xfrm>
        </p:spPr>
        <p:txBody>
          <a:bodyPr/>
          <a:lstStyle>
            <a:lvl1pPr marL="0" indent="0">
              <a:buFontTx/>
              <a:buNone/>
              <a:defRPr sz="2400" b="1"/>
            </a:lvl1pPr>
          </a:lstStyle>
          <a:p>
            <a:r>
              <a:rPr lang="de-DE"/>
              <a:t>First Name, Surname</a:t>
            </a:r>
            <a:endParaRPr lang="de-DE" dirty="0"/>
          </a:p>
        </p:txBody>
      </p:sp>
      <p:sp>
        <p:nvSpPr>
          <p:cNvPr id="21" name="Text Placeholder 12">
            <a:extLst>
              <a:ext uri="{FF2B5EF4-FFF2-40B4-BE49-F238E27FC236}">
                <a16:creationId xmlns:a16="http://schemas.microsoft.com/office/drawing/2014/main" id="{43D38B15-9121-49D6-989E-11AAE8ABE162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2556505" y="3210241"/>
            <a:ext cx="7753350" cy="342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U</a:t>
            </a:r>
            <a:r>
              <a:rPr lang="en-US"/>
              <a:t>nit</a:t>
            </a:r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5F00CA6C-3EEC-42CE-A94B-6B97962A4F1E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2556263" y="3568551"/>
            <a:ext cx="7749790" cy="342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E</a:t>
            </a:r>
            <a:r>
              <a:rPr lang="en-US"/>
              <a:t>mail</a:t>
            </a:r>
          </a:p>
        </p:txBody>
      </p:sp>
      <p:sp>
        <p:nvSpPr>
          <p:cNvPr id="23" name="Text Placeholder 30">
            <a:extLst>
              <a:ext uri="{FF2B5EF4-FFF2-40B4-BE49-F238E27FC236}">
                <a16:creationId xmlns:a16="http://schemas.microsoft.com/office/drawing/2014/main" id="{2CC8C615-9D44-4053-9B82-6C11E9CDBF6A}"/>
              </a:ext>
            </a:extLst>
          </p:cNvPr>
          <p:cNvSpPr>
            <a:spLocks noGrp="1"/>
          </p:cNvSpPr>
          <p:nvPr>
            <p:ph type="body" sz="quarter" idx="82" hasCustomPrompt="1"/>
          </p:nvPr>
        </p:nvSpPr>
        <p:spPr>
          <a:xfrm>
            <a:off x="2553445" y="3926899"/>
            <a:ext cx="7758583" cy="342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P</a:t>
            </a:r>
            <a:r>
              <a:rPr lang="en-US"/>
              <a:t>hone / Mobile</a:t>
            </a:r>
          </a:p>
        </p:txBody>
      </p:sp>
      <p:sp>
        <p:nvSpPr>
          <p:cNvPr id="24" name="Text Placeholder 32">
            <a:extLst>
              <a:ext uri="{FF2B5EF4-FFF2-40B4-BE49-F238E27FC236}">
                <a16:creationId xmlns:a16="http://schemas.microsoft.com/office/drawing/2014/main" id="{8C63CB80-90D1-45B0-A36D-4006A55C89FD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2552701" y="2850201"/>
            <a:ext cx="7753351" cy="342000"/>
          </a:xfrm>
        </p:spPr>
        <p:txBody>
          <a:bodyPr/>
          <a:lstStyle>
            <a:lvl1pPr marL="0" indent="0">
              <a:buNone/>
              <a:defRPr sz="2400"/>
            </a:lvl1pPr>
          </a:lstStyle>
          <a:p>
            <a:pPr lvl="0"/>
            <a:r>
              <a:rPr lang="de-DE"/>
              <a:t>F</a:t>
            </a:r>
            <a:r>
              <a:rPr lang="en-US"/>
              <a:t>unction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0DA672B0-39DA-704A-9CA0-E8D83BE9E1D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16888" y="0"/>
            <a:ext cx="4076700" cy="137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269976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Kontakt_2-Personen Layout_unter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5F979C7-A245-4F45-87F3-AB140C3C37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lang="de-DE" sz="3200" dirty="0"/>
            </a:br>
            <a:r>
              <a:rPr lang="de-DE" dirty="0"/>
              <a:t> </a:t>
            </a:r>
            <a:br>
              <a:rPr lang="de-DE" dirty="0"/>
            </a:b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9C0DD7A-F30E-4B54-9919-B20D21791C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8BCF00-B64D-40FE-B88F-91346BBD05CB}" type="datetime1">
              <a:rPr lang="de-DE" smtClean="0"/>
              <a:t>05.08.2020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0074E55-09D3-4DFF-B787-764CC0BC38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TecAlliance GmbH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4B504-8EF9-46E5-A2F4-E4D8F13D87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82B8A1-0CCE-4815-9668-383D7DE7D8B4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2" name="Bildplatzhalter 5">
            <a:extLst>
              <a:ext uri="{FF2B5EF4-FFF2-40B4-BE49-F238E27FC236}">
                <a16:creationId xmlns:a16="http://schemas.microsoft.com/office/drawing/2014/main" id="{6B454027-40B0-41FB-99A6-1DDEF4F8589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8790" y="1534707"/>
            <a:ext cx="1584325" cy="1882377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de-DE" dirty="0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01836569-B5DD-4C35-A2D3-12E74770777C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2554405" y="1529497"/>
            <a:ext cx="7755449" cy="342000"/>
          </a:xfrm>
        </p:spPr>
        <p:txBody>
          <a:bodyPr/>
          <a:lstStyle>
            <a:lvl1pPr marL="0" indent="0">
              <a:buFontTx/>
              <a:buNone/>
              <a:defRPr sz="2400" b="1"/>
            </a:lvl1pPr>
          </a:lstStyle>
          <a:p>
            <a:r>
              <a:rPr lang="de-DE"/>
              <a:t>First Name, Surname</a:t>
            </a:r>
            <a:endParaRPr lang="de-DE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5B7D71A7-0EA1-492B-B220-6871D30852C6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2556505" y="2246842"/>
            <a:ext cx="7753350" cy="342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U</a:t>
            </a:r>
            <a:r>
              <a:rPr lang="en-US"/>
              <a:t>nit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5D6E37C0-FC47-4D25-A375-D4AAD94B1052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2556263" y="2605152"/>
            <a:ext cx="7749790" cy="342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Email</a:t>
            </a:r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3C929A7D-5507-43B0-91EF-A8FDFE9FA932}"/>
              </a:ext>
            </a:extLst>
          </p:cNvPr>
          <p:cNvSpPr>
            <a:spLocks noGrp="1"/>
          </p:cNvSpPr>
          <p:nvPr>
            <p:ph type="body" sz="quarter" idx="82" hasCustomPrompt="1"/>
          </p:nvPr>
        </p:nvSpPr>
        <p:spPr>
          <a:xfrm>
            <a:off x="2553445" y="2963500"/>
            <a:ext cx="7758583" cy="342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P</a:t>
            </a:r>
            <a:r>
              <a:rPr lang="en-US"/>
              <a:t>hone / Mobile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74014A5D-EA33-4AC6-A99E-3062BB97E165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2552701" y="1886802"/>
            <a:ext cx="7753351" cy="342000"/>
          </a:xfrm>
        </p:spPr>
        <p:txBody>
          <a:bodyPr/>
          <a:lstStyle>
            <a:lvl1pPr marL="0" indent="0">
              <a:buNone/>
              <a:defRPr sz="2400"/>
            </a:lvl1pPr>
          </a:lstStyle>
          <a:p>
            <a:pPr lvl="0"/>
            <a:r>
              <a:rPr lang="de-DE"/>
              <a:t>F</a:t>
            </a:r>
            <a:r>
              <a:rPr lang="en-US"/>
              <a:t>unction</a:t>
            </a:r>
          </a:p>
        </p:txBody>
      </p:sp>
      <p:sp>
        <p:nvSpPr>
          <p:cNvPr id="44" name="Textplatzhalter 2">
            <a:extLst>
              <a:ext uri="{FF2B5EF4-FFF2-40B4-BE49-F238E27FC236}">
                <a16:creationId xmlns:a16="http://schemas.microsoft.com/office/drawing/2014/main" id="{C3BB38C7-BB9B-4261-98F0-F190B85C3DBD}"/>
              </a:ext>
            </a:extLst>
          </p:cNvPr>
          <p:cNvSpPr>
            <a:spLocks noGrp="1"/>
          </p:cNvSpPr>
          <p:nvPr>
            <p:ph type="body" sz="quarter" idx="84" hasCustomPrompt="1"/>
          </p:nvPr>
        </p:nvSpPr>
        <p:spPr>
          <a:xfrm>
            <a:off x="2559013" y="4155859"/>
            <a:ext cx="7755449" cy="342000"/>
          </a:xfrm>
        </p:spPr>
        <p:txBody>
          <a:bodyPr/>
          <a:lstStyle>
            <a:lvl1pPr marL="0" indent="0">
              <a:buFontTx/>
              <a:buNone/>
              <a:defRPr sz="2400" b="1"/>
            </a:lvl1pPr>
          </a:lstStyle>
          <a:p>
            <a:r>
              <a:rPr lang="de-DE"/>
              <a:t>First Name, Surname</a:t>
            </a:r>
            <a:endParaRPr lang="de-DE" dirty="0"/>
          </a:p>
        </p:txBody>
      </p:sp>
      <p:sp>
        <p:nvSpPr>
          <p:cNvPr id="45" name="Text Placeholder 12">
            <a:extLst>
              <a:ext uri="{FF2B5EF4-FFF2-40B4-BE49-F238E27FC236}">
                <a16:creationId xmlns:a16="http://schemas.microsoft.com/office/drawing/2014/main" id="{3795CE64-BBE0-4E3A-8914-32347FCEE098}"/>
              </a:ext>
            </a:extLst>
          </p:cNvPr>
          <p:cNvSpPr>
            <a:spLocks noGrp="1"/>
          </p:cNvSpPr>
          <p:nvPr>
            <p:ph type="body" sz="quarter" idx="85" hasCustomPrompt="1"/>
          </p:nvPr>
        </p:nvSpPr>
        <p:spPr>
          <a:xfrm>
            <a:off x="2561113" y="4873204"/>
            <a:ext cx="7753350" cy="342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U</a:t>
            </a:r>
            <a:r>
              <a:rPr lang="en-US"/>
              <a:t>nit</a:t>
            </a:r>
          </a:p>
        </p:txBody>
      </p:sp>
      <p:sp>
        <p:nvSpPr>
          <p:cNvPr id="46" name="Text Placeholder 20">
            <a:extLst>
              <a:ext uri="{FF2B5EF4-FFF2-40B4-BE49-F238E27FC236}">
                <a16:creationId xmlns:a16="http://schemas.microsoft.com/office/drawing/2014/main" id="{72CE29E6-3844-451B-9354-D0883ADC94E4}"/>
              </a:ext>
            </a:extLst>
          </p:cNvPr>
          <p:cNvSpPr>
            <a:spLocks noGrp="1"/>
          </p:cNvSpPr>
          <p:nvPr>
            <p:ph type="body" sz="quarter" idx="86" hasCustomPrompt="1"/>
          </p:nvPr>
        </p:nvSpPr>
        <p:spPr>
          <a:xfrm>
            <a:off x="2560871" y="5231514"/>
            <a:ext cx="7749790" cy="342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Email</a:t>
            </a:r>
          </a:p>
        </p:txBody>
      </p:sp>
      <p:sp>
        <p:nvSpPr>
          <p:cNvPr id="47" name="Text Placeholder 30">
            <a:extLst>
              <a:ext uri="{FF2B5EF4-FFF2-40B4-BE49-F238E27FC236}">
                <a16:creationId xmlns:a16="http://schemas.microsoft.com/office/drawing/2014/main" id="{4FBD4C82-AFB5-49FB-8FF6-CF4AA2E998ED}"/>
              </a:ext>
            </a:extLst>
          </p:cNvPr>
          <p:cNvSpPr>
            <a:spLocks noGrp="1"/>
          </p:cNvSpPr>
          <p:nvPr>
            <p:ph type="body" sz="quarter" idx="87" hasCustomPrompt="1"/>
          </p:nvPr>
        </p:nvSpPr>
        <p:spPr>
          <a:xfrm>
            <a:off x="2558053" y="5589862"/>
            <a:ext cx="7758583" cy="342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P</a:t>
            </a:r>
            <a:r>
              <a:rPr lang="en-US"/>
              <a:t>hone / Mobile</a:t>
            </a:r>
          </a:p>
        </p:txBody>
      </p:sp>
      <p:sp>
        <p:nvSpPr>
          <p:cNvPr id="48" name="Text Placeholder 32">
            <a:extLst>
              <a:ext uri="{FF2B5EF4-FFF2-40B4-BE49-F238E27FC236}">
                <a16:creationId xmlns:a16="http://schemas.microsoft.com/office/drawing/2014/main" id="{165DCA33-3AF1-4CB7-B2B4-F6C135E7BED5}"/>
              </a:ext>
            </a:extLst>
          </p:cNvPr>
          <p:cNvSpPr>
            <a:spLocks noGrp="1"/>
          </p:cNvSpPr>
          <p:nvPr>
            <p:ph type="body" sz="quarter" idx="88" hasCustomPrompt="1"/>
          </p:nvPr>
        </p:nvSpPr>
        <p:spPr>
          <a:xfrm>
            <a:off x="2557309" y="4513164"/>
            <a:ext cx="7753351" cy="342000"/>
          </a:xfrm>
        </p:spPr>
        <p:txBody>
          <a:bodyPr/>
          <a:lstStyle>
            <a:lvl1pPr marL="0" indent="0">
              <a:buNone/>
              <a:defRPr sz="2400"/>
            </a:lvl1pPr>
          </a:lstStyle>
          <a:p>
            <a:pPr lvl="0"/>
            <a:r>
              <a:rPr lang="de-DE"/>
              <a:t>F</a:t>
            </a:r>
            <a:r>
              <a:rPr lang="en-US"/>
              <a:t>unction</a:t>
            </a:r>
          </a:p>
        </p:txBody>
      </p:sp>
      <p:sp>
        <p:nvSpPr>
          <p:cNvPr id="49" name="Bildplatzhalter 5">
            <a:extLst>
              <a:ext uri="{FF2B5EF4-FFF2-40B4-BE49-F238E27FC236}">
                <a16:creationId xmlns:a16="http://schemas.microsoft.com/office/drawing/2014/main" id="{A690F73E-491E-49BC-B0F1-817DB517B5BA}"/>
              </a:ext>
            </a:extLst>
          </p:cNvPr>
          <p:cNvSpPr>
            <a:spLocks noGrp="1"/>
          </p:cNvSpPr>
          <p:nvPr>
            <p:ph type="pic" sz="quarter" idx="89"/>
          </p:nvPr>
        </p:nvSpPr>
        <p:spPr>
          <a:xfrm>
            <a:off x="462603" y="4157789"/>
            <a:ext cx="1584325" cy="1882377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de-DE" dirty="0"/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AD424063-9652-D549-A712-B4171A5DCD9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V="1">
            <a:off x="8956218" y="0"/>
            <a:ext cx="3252228" cy="1393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547899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F40736A5-4183-4914-9152-7CE13465F1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301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F40736A5-4183-4914-9152-7CE13465F1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E521E661-F72F-084F-9669-FA12FC278E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82721A26-9179-144D-86B4-A915E849FB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585DD6-9DC3-4B54-BDED-78D24FF0EA78}" type="datetime1">
              <a:rPr lang="de-DE" smtClean="0"/>
              <a:t>05.08.2020</a:t>
            </a:fld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485D83B4-3FCC-F84F-AF8A-261682357B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TecAlliance GmbH</a:t>
            </a:r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0E00126F-CE54-6847-AD16-CE3AA2BF1B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82B8A1-0CCE-4815-9668-383D7DE7D8B4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4422291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_Text-ein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74F0B35-3022-7F49-8E3F-7327DBD56C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DC2DAE3-F98B-3649-A768-44AAE493A66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4500" y="1527970"/>
            <a:ext cx="11341100" cy="388144"/>
          </a:xfrm>
          <a:prstGeom prst="rect">
            <a:avLst/>
          </a:prstGeom>
        </p:spPr>
        <p:txBody>
          <a:bodyPr/>
          <a:lstStyle>
            <a:lvl1pPr>
              <a:defRPr sz="2400" b="1"/>
            </a:lvl1pPr>
          </a:lstStyle>
          <a:p>
            <a:endParaRPr lang="de-DE" dirty="0"/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id="{DBCE4F64-32B9-A045-8AC8-500D5CAA362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44500" y="1916113"/>
            <a:ext cx="11341100" cy="4176712"/>
          </a:xfrm>
          <a:prstGeom prst="rect">
            <a:avLst/>
          </a:prstGeom>
        </p:spPr>
        <p:txBody>
          <a:bodyPr/>
          <a:lstStyle>
            <a:lvl1pPr marL="342900" indent="-342900">
              <a:buFont typeface="Wingdings" panose="05000000000000000000" pitchFamily="2" charset="2"/>
              <a:buChar char="§"/>
              <a:defRPr/>
            </a:lvl1pPr>
          </a:lstStyle>
          <a:p>
            <a:r>
              <a:rPr lang="de-DE" dirty="0"/>
              <a:t>Mastertextformat bearbeiten
Zweite Ebene
Dritte Ebene
Vierte Ebene
Fünfte Eben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F99085B-C3FC-3341-98D3-9AA4828C30AC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1C0E341C-220A-4F7D-96B2-885049437498}" type="datetime1">
              <a:rPr lang="de-DE" smtClean="0"/>
              <a:t>05.08.2020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B07E8A6-E723-824C-BACE-3510E17D1DF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© TecAlliance GmbH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0A80FED-A43C-7649-AF4C-BA8FA22B9CC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E82B8A1-0CCE-4815-9668-383D7DE7D8B4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7106078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_Text-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74F0B35-3022-7F49-8E3F-7327DBD56C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DC2DAE3-F98B-3649-A768-44AAE493A66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4500" y="1527970"/>
            <a:ext cx="5364163" cy="388144"/>
          </a:xfrm>
          <a:prstGeom prst="rect">
            <a:avLst/>
          </a:prstGeom>
        </p:spPr>
        <p:txBody>
          <a:bodyPr/>
          <a:lstStyle>
            <a:lvl1pPr>
              <a:defRPr sz="2400" b="1"/>
            </a:lvl1pPr>
          </a:lstStyle>
          <a:p>
            <a:endParaRPr lang="de-DE" dirty="0"/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id="{DBCE4F64-32B9-A045-8AC8-500D5CAA362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44500" y="1916113"/>
            <a:ext cx="5364163" cy="4176712"/>
          </a:xfrm>
        </p:spPr>
        <p:txBody>
          <a:bodyPr/>
          <a:lstStyle>
            <a:lvl1pPr marL="342900" indent="-342900">
              <a:buFont typeface="Wingdings" panose="05000000000000000000" pitchFamily="2" charset="2"/>
              <a:buChar char="§"/>
              <a:defRPr/>
            </a:lvl1pPr>
          </a:lstStyle>
          <a:p>
            <a:r>
              <a:rPr lang="de-DE" dirty="0"/>
              <a:t>Mastertextformat bearbeiten
Zweite Ebene
Dritte Ebene
Vierte Ebene
Fünfte Ebene</a:t>
            </a:r>
          </a:p>
        </p:txBody>
      </p:sp>
      <p:sp>
        <p:nvSpPr>
          <p:cNvPr id="8" name="Textplatzhalter 6">
            <a:extLst>
              <a:ext uri="{FF2B5EF4-FFF2-40B4-BE49-F238E27FC236}">
                <a16:creationId xmlns:a16="http://schemas.microsoft.com/office/drawing/2014/main" id="{758223CE-3815-7841-A076-B7AABE9FAB8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88100" y="1527970"/>
            <a:ext cx="5364163" cy="388144"/>
          </a:xfrm>
          <a:prstGeom prst="rect">
            <a:avLst/>
          </a:prstGeom>
        </p:spPr>
        <p:txBody>
          <a:bodyPr/>
          <a:lstStyle>
            <a:lvl1pPr>
              <a:defRPr sz="2400" b="1"/>
            </a:lvl1pPr>
          </a:lstStyle>
          <a:p>
            <a:endParaRPr lang="de-DE" dirty="0"/>
          </a:p>
        </p:txBody>
      </p:sp>
      <p:sp>
        <p:nvSpPr>
          <p:cNvPr id="9" name="Inhaltsplatzhalter 10">
            <a:extLst>
              <a:ext uri="{FF2B5EF4-FFF2-40B4-BE49-F238E27FC236}">
                <a16:creationId xmlns:a16="http://schemas.microsoft.com/office/drawing/2014/main" id="{511F0412-B290-5E4D-93E3-F171F29812E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388100" y="1916113"/>
            <a:ext cx="5364163" cy="4176712"/>
          </a:xfrm>
        </p:spPr>
        <p:txBody>
          <a:bodyPr/>
          <a:lstStyle>
            <a:lvl1pPr marL="342900" indent="-342900">
              <a:buFont typeface="Wingdings" panose="05000000000000000000" pitchFamily="2" charset="2"/>
              <a:buChar char="§"/>
              <a:defRPr/>
            </a:lvl1pPr>
          </a:lstStyle>
          <a:p>
            <a:r>
              <a:rPr lang="de-DE" dirty="0"/>
              <a:t>Mastertextformat bearbeiten
Zweite Ebene
Dritte Ebene
Vierte Ebene
Fünfte Ebene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96E35369-ED01-054B-9C12-1027FA66BDD1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10F3D16E-8158-4BDF-A536-1594626770FB}" type="datetime1">
              <a:rPr lang="de-DE" smtClean="0"/>
              <a:t>05.08.2020</a:t>
            </a:fld>
            <a:endParaRPr lang="de-DE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D791B094-C599-144E-94D0-311E9A2CDE8A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© TecAlliance GmbH</a:t>
            </a:r>
            <a:endParaRPr lang="de-DE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90308FD9-993A-6E49-B5FA-A6FDC9A1CA0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CE82B8A1-0CCE-4815-9668-383D7DE7D8B4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7627628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_Text-dr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74F0B35-3022-7F49-8E3F-7327DBD56C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DC2DAE3-F98B-3649-A768-44AAE493A66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4501" y="1527970"/>
            <a:ext cx="3600066" cy="388144"/>
          </a:xfrm>
          <a:prstGeom prst="rect">
            <a:avLst/>
          </a:prstGeom>
        </p:spPr>
        <p:txBody>
          <a:bodyPr/>
          <a:lstStyle>
            <a:lvl1pPr>
              <a:defRPr sz="2400" b="1"/>
            </a:lvl1pPr>
          </a:lstStyle>
          <a:p>
            <a:endParaRPr lang="de-DE" dirty="0"/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id="{DBCE4F64-32B9-A045-8AC8-500D5CAA362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44501" y="1916113"/>
            <a:ext cx="3600066" cy="4176712"/>
          </a:xfrm>
        </p:spPr>
        <p:txBody>
          <a:bodyPr/>
          <a:lstStyle>
            <a:lvl1pPr marL="342900" indent="-342900">
              <a:buFont typeface="Wingdings" panose="05000000000000000000" pitchFamily="2" charset="2"/>
              <a:buChar char="§"/>
              <a:defRPr sz="2000"/>
            </a:lvl1pPr>
          </a:lstStyle>
          <a:p>
            <a:r>
              <a:rPr lang="de-DE" dirty="0"/>
              <a:t>Mastertextformat bearbeiten
Zweite Ebene
Dritte Ebene
Vierte Ebene
Fünfte Ebene</a:t>
            </a:r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7BE04367-DC40-2E4F-9692-BE822296151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18001" y="1527970"/>
            <a:ext cx="3600066" cy="388144"/>
          </a:xfrm>
          <a:prstGeom prst="rect">
            <a:avLst/>
          </a:prstGeom>
        </p:spPr>
        <p:txBody>
          <a:bodyPr/>
          <a:lstStyle>
            <a:lvl1pPr>
              <a:defRPr sz="2400" b="1"/>
            </a:lvl1pPr>
          </a:lstStyle>
          <a:p>
            <a:endParaRPr lang="de-DE" dirty="0"/>
          </a:p>
        </p:txBody>
      </p:sp>
      <p:sp>
        <p:nvSpPr>
          <p:cNvPr id="12" name="Inhaltsplatzhalter 10">
            <a:extLst>
              <a:ext uri="{FF2B5EF4-FFF2-40B4-BE49-F238E27FC236}">
                <a16:creationId xmlns:a16="http://schemas.microsoft.com/office/drawing/2014/main" id="{C3A8C4AD-5490-9C4C-8609-72A1CFE08EC7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318001" y="1916113"/>
            <a:ext cx="3600066" cy="4176712"/>
          </a:xfrm>
        </p:spPr>
        <p:txBody>
          <a:bodyPr vert="horz" lIns="0" tIns="0" rIns="0" bIns="0" rtlCol="0">
            <a:noAutofit/>
          </a:bodyPr>
          <a:lstStyle>
            <a:lvl1pPr marL="342900" indent="-342900">
              <a:buFont typeface="Wingdings" panose="05000000000000000000" pitchFamily="2" charset="2"/>
              <a:buChar char="§"/>
              <a:defRPr lang="de-DE" sz="2000" dirty="0"/>
            </a:lvl1pPr>
          </a:lstStyle>
          <a:p>
            <a:pPr lvl="0"/>
            <a:r>
              <a:rPr lang="de-DE" dirty="0"/>
              <a:t>Mastertextformat bearbeiten
Zweite Ebene
Dritte Ebene
Vierte Ebene
Fünfte Ebene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427F3449-0B0A-5F41-86DC-AC3C66C5161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153401" y="1527970"/>
            <a:ext cx="3600066" cy="388144"/>
          </a:xfrm>
          <a:prstGeom prst="rect">
            <a:avLst/>
          </a:prstGeom>
        </p:spPr>
        <p:txBody>
          <a:bodyPr/>
          <a:lstStyle>
            <a:lvl1pPr>
              <a:defRPr sz="2400" b="1"/>
            </a:lvl1pPr>
          </a:lstStyle>
          <a:p>
            <a:endParaRPr lang="de-DE" dirty="0"/>
          </a:p>
        </p:txBody>
      </p:sp>
      <p:sp>
        <p:nvSpPr>
          <p:cNvPr id="14" name="Inhaltsplatzhalter 10">
            <a:extLst>
              <a:ext uri="{FF2B5EF4-FFF2-40B4-BE49-F238E27FC236}">
                <a16:creationId xmlns:a16="http://schemas.microsoft.com/office/drawing/2014/main" id="{0952AFFF-30E0-E84F-90BE-F6A969679287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153401" y="1916113"/>
            <a:ext cx="3600066" cy="4176712"/>
          </a:xfrm>
        </p:spPr>
        <p:txBody>
          <a:bodyPr vert="horz" lIns="0" tIns="0" rIns="0" bIns="0" rtlCol="0">
            <a:noAutofit/>
          </a:bodyPr>
          <a:lstStyle>
            <a:lvl1pPr marL="342900" indent="-342900">
              <a:buFont typeface="Wingdings" panose="05000000000000000000" pitchFamily="2" charset="2"/>
              <a:buChar char="§"/>
              <a:defRPr lang="de-DE" sz="2000" dirty="0"/>
            </a:lvl1pPr>
          </a:lstStyle>
          <a:p>
            <a:pPr lvl="0"/>
            <a:r>
              <a:rPr lang="de-DE" dirty="0"/>
              <a:t>Mastertextformat bearbeiten
Zweite Ebene
Dritte Ebene
Vierte Ebene
Fünfte Ebene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189F629F-8DC2-154A-9C11-A68D2D5FACF7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F5A4FB97-F50B-4D50-A663-D9B8B5F6F069}" type="datetime1">
              <a:rPr lang="de-DE" smtClean="0"/>
              <a:t>05.08.2020</a:t>
            </a:fld>
            <a:endParaRPr lang="de-DE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E6E56389-159C-E545-A1B2-004130E4ACD1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/>
              <a:t>© TecAlliance GmbH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85381EB6-BA92-834F-AEB9-6697D0CF8EB3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CE82B8A1-0CCE-4815-9668-383D7DE7D8B4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6862394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F40736A5-4183-4914-9152-7CE13465F1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3464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F40736A5-4183-4914-9152-7CE13465F1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E521E661-F72F-084F-9669-FA12FC278E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6414" y="1520825"/>
            <a:ext cx="8028558" cy="2326791"/>
          </a:xfrm>
        </p:spPr>
        <p:txBody>
          <a:bodyPr>
            <a:spAutoFit/>
          </a:bodyPr>
          <a:lstStyle>
            <a:lvl1pPr>
              <a:defRPr sz="56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Hier könnte ein Zitat oder eine andere Aussage auf dem Hintergrund stehen.</a:t>
            </a:r>
          </a:p>
        </p:txBody>
      </p:sp>
      <p:sp>
        <p:nvSpPr>
          <p:cNvPr id="12" name="Textplatzhalter 7">
            <a:extLst>
              <a:ext uri="{FF2B5EF4-FFF2-40B4-BE49-F238E27FC236}">
                <a16:creationId xmlns:a16="http://schemas.microsoft.com/office/drawing/2014/main" id="{8EE4CB55-51F6-F145-A4DC-6CB66A4F32E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44501" y="765176"/>
            <a:ext cx="8020472" cy="755650"/>
          </a:xfrm>
          <a:prstGeom prst="rect">
            <a:avLst/>
          </a:prstGeom>
        </p:spPr>
        <p:txBody>
          <a:bodyPr wrap="square" tIns="0" numCol="1" anchor="t" anchorCtr="0"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Zitatgeber</a:t>
            </a:r>
          </a:p>
        </p:txBody>
      </p:sp>
    </p:spTree>
    <p:extLst>
      <p:ext uri="{BB962C8B-B14F-4D97-AF65-F5344CB8AC3E}">
        <p14:creationId xmlns:p14="http://schemas.microsoft.com/office/powerpoint/2010/main" val="40946055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Zitat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F40736A5-4183-4914-9152-7CE13465F1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737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F40736A5-4183-4914-9152-7CE13465F1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CFFC93E9-46F0-244A-9FFD-07F3B90DED4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005006" y="1531093"/>
            <a:ext cx="3780594" cy="4561732"/>
          </a:xfrm>
          <a:prstGeom prst="rect">
            <a:avLst/>
          </a:prstGeom>
          <a:solidFill>
            <a:srgbClr val="C2D0D8"/>
          </a:solidFill>
          <a:ln w="34925">
            <a:solidFill>
              <a:schemeClr val="bg1"/>
            </a:solidFill>
            <a:miter lim="800000"/>
          </a:ln>
        </p:spPr>
        <p:txBody>
          <a:bodyPr/>
          <a:lstStyle/>
          <a:p>
            <a:r>
              <a:rPr lang="de-DE" dirty="0"/>
              <a:t> </a:t>
            </a:r>
          </a:p>
        </p:txBody>
      </p:sp>
      <p:sp>
        <p:nvSpPr>
          <p:cNvPr id="6" name="Textplatzhalter 7">
            <a:extLst>
              <a:ext uri="{FF2B5EF4-FFF2-40B4-BE49-F238E27FC236}">
                <a16:creationId xmlns:a16="http://schemas.microsoft.com/office/drawing/2014/main" id="{FC7BDCBC-2C38-A845-B178-819166A7D57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44500" y="765176"/>
            <a:ext cx="7200466" cy="755650"/>
          </a:xfrm>
          <a:prstGeom prst="rect">
            <a:avLst/>
          </a:prstGeom>
        </p:spPr>
        <p:txBody>
          <a:bodyPr wrap="square" tIns="0" numCol="1" anchor="t" anchorCtr="0"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Zitatgeber</a:t>
            </a:r>
          </a:p>
        </p:txBody>
      </p:sp>
      <p:sp>
        <p:nvSpPr>
          <p:cNvPr id="9" name="Titel 2">
            <a:extLst>
              <a:ext uri="{FF2B5EF4-FFF2-40B4-BE49-F238E27FC236}">
                <a16:creationId xmlns:a16="http://schemas.microsoft.com/office/drawing/2014/main" id="{FA055BAC-BC84-9044-8851-A2B67F00C7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8460" y="1531093"/>
            <a:ext cx="7196506" cy="2326791"/>
          </a:xfrm>
        </p:spPr>
        <p:txBody>
          <a:bodyPr wrap="square">
            <a:spAutoFit/>
          </a:bodyPr>
          <a:lstStyle>
            <a:lvl1pPr>
              <a:defRPr sz="56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Hier könnte ein Zitat neben einem Foto des Zitierten stehen.</a:t>
            </a:r>
          </a:p>
        </p:txBody>
      </p:sp>
    </p:spTree>
    <p:extLst>
      <p:ext uri="{BB962C8B-B14F-4D97-AF65-F5344CB8AC3E}">
        <p14:creationId xmlns:p14="http://schemas.microsoft.com/office/powerpoint/2010/main" val="34125802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Zitat_Anfuehrungszeich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F40736A5-4183-4914-9152-7CE13465F1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8805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F40736A5-4183-4914-9152-7CE13465F1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el 2">
            <a:extLst>
              <a:ext uri="{FF2B5EF4-FFF2-40B4-BE49-F238E27FC236}">
                <a16:creationId xmlns:a16="http://schemas.microsoft.com/office/drawing/2014/main" id="{8B8AD990-BC60-A949-AB3A-39C5F67B87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08655" y="1520826"/>
            <a:ext cx="8816945" cy="3025370"/>
          </a:xfrm>
        </p:spPr>
        <p:txBody>
          <a:bodyPr/>
          <a:lstStyle>
            <a:lvl1pPr algn="l">
              <a:defRPr sz="56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Hier könnte ein Zitat oder </a:t>
            </a:r>
            <a:br>
              <a:rPr lang="de-DE" dirty="0"/>
            </a:br>
            <a:r>
              <a:rPr lang="de-DE" dirty="0"/>
              <a:t>eine andere Aussage auf </a:t>
            </a:r>
            <a:br>
              <a:rPr lang="de-DE" dirty="0"/>
            </a:br>
            <a:r>
              <a:rPr lang="de-DE" dirty="0"/>
              <a:t>dem Hintergrund stehen.</a:t>
            </a:r>
            <a:br>
              <a:rPr lang="de-DE" dirty="0"/>
            </a:br>
            <a:r>
              <a:rPr lang="de-DE" dirty="0"/>
              <a:t>Mit ca. 4 Zeilen.</a:t>
            </a:r>
          </a:p>
        </p:txBody>
      </p:sp>
      <p:sp>
        <p:nvSpPr>
          <p:cNvPr id="12" name="Textplatzhalter 7">
            <a:extLst>
              <a:ext uri="{FF2B5EF4-FFF2-40B4-BE49-F238E27FC236}">
                <a16:creationId xmlns:a16="http://schemas.microsoft.com/office/drawing/2014/main" id="{A9B7E748-A27F-FF48-96B7-01E9951E447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00185" y="765176"/>
            <a:ext cx="8825415" cy="755650"/>
          </a:xfrm>
          <a:prstGeom prst="rect">
            <a:avLst/>
          </a:prstGeom>
        </p:spPr>
        <p:txBody>
          <a:bodyPr wrap="square" tIns="0" numCol="1" anchor="t" anchorCtr="0"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Zitatgeber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ED19847-9A32-EF49-AF19-7008109E979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44500" y="2817408"/>
            <a:ext cx="1255685" cy="1728788"/>
          </a:xfrm>
        </p:spPr>
        <p:txBody>
          <a:bodyPr/>
          <a:lstStyle>
            <a:lvl1pPr>
              <a:defRPr sz="18500" b="1"/>
            </a:lvl1pPr>
          </a:lstStyle>
          <a:p>
            <a:r>
              <a:rPr lang="de-DE" dirty="0"/>
              <a:t>„</a:t>
            </a:r>
          </a:p>
        </p:txBody>
      </p:sp>
      <p:sp>
        <p:nvSpPr>
          <p:cNvPr id="15" name="Textplatzhalter 4">
            <a:extLst>
              <a:ext uri="{FF2B5EF4-FFF2-40B4-BE49-F238E27FC236}">
                <a16:creationId xmlns:a16="http://schemas.microsoft.com/office/drawing/2014/main" id="{65FFC5F4-9F26-E343-9732-41D95FED288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534070" y="441325"/>
            <a:ext cx="1232480" cy="4104871"/>
          </a:xfrm>
        </p:spPr>
        <p:txBody>
          <a:bodyPr/>
          <a:lstStyle>
            <a:lvl1pPr>
              <a:defRPr sz="18500" b="1"/>
            </a:lvl1pPr>
          </a:lstStyle>
          <a:p>
            <a:r>
              <a:rPr lang="de-DE" dirty="0"/>
              <a:t>“</a:t>
            </a:r>
          </a:p>
        </p:txBody>
      </p:sp>
    </p:spTree>
    <p:extLst>
      <p:ext uri="{BB962C8B-B14F-4D97-AF65-F5344CB8AC3E}">
        <p14:creationId xmlns:p14="http://schemas.microsoft.com/office/powerpoint/2010/main" val="3746550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Zahl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F40736A5-4183-4914-9152-7CE13465F1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8031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F40736A5-4183-4914-9152-7CE13465F1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E521E661-F72F-084F-9669-FA12FC278E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F8DBB319-F0E7-664D-A569-84C294BBB7A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472038" y="1556501"/>
            <a:ext cx="1966070" cy="1744783"/>
          </a:xfrm>
          <a:prstGeom prst="rect">
            <a:avLst/>
          </a:prstGeom>
        </p:spPr>
        <p:txBody>
          <a:bodyPr anchor="ctr" anchorCtr="0"/>
          <a:lstStyle>
            <a:lvl1pPr algn="ctr">
              <a:defRPr/>
            </a:lvl1pPr>
          </a:lstStyle>
          <a:p>
            <a:endParaRPr lang="de-DE" dirty="0"/>
          </a:p>
        </p:txBody>
      </p:sp>
      <p:sp>
        <p:nvSpPr>
          <p:cNvPr id="24" name="Bildplatzhalter 20">
            <a:extLst>
              <a:ext uri="{FF2B5EF4-FFF2-40B4-BE49-F238E27FC236}">
                <a16:creationId xmlns:a16="http://schemas.microsoft.com/office/drawing/2014/main" id="{9E416920-5B14-3C4B-B6AF-5810B7BD61B5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115124" y="1556501"/>
            <a:ext cx="1966070" cy="1744783"/>
          </a:xfrm>
          <a:prstGeom prst="rect">
            <a:avLst/>
          </a:prstGeom>
        </p:spPr>
        <p:txBody>
          <a:bodyPr anchor="ctr" anchorCtr="0"/>
          <a:lstStyle>
            <a:lvl1pPr algn="ctr">
              <a:defRPr/>
            </a:lvl1pPr>
          </a:lstStyle>
          <a:p>
            <a:endParaRPr lang="de-DE" dirty="0"/>
          </a:p>
        </p:txBody>
      </p:sp>
      <p:sp>
        <p:nvSpPr>
          <p:cNvPr id="27" name="Bildplatzhalter 20">
            <a:extLst>
              <a:ext uri="{FF2B5EF4-FFF2-40B4-BE49-F238E27FC236}">
                <a16:creationId xmlns:a16="http://schemas.microsoft.com/office/drawing/2014/main" id="{DCF7909C-210A-1D41-B9EB-067A72A429A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758210" y="1556501"/>
            <a:ext cx="1966070" cy="1744783"/>
          </a:xfrm>
          <a:prstGeom prst="rect">
            <a:avLst/>
          </a:prstGeom>
        </p:spPr>
        <p:txBody>
          <a:bodyPr anchor="ctr" anchorCtr="0"/>
          <a:lstStyle>
            <a:lvl1pPr algn="ctr">
              <a:defRPr/>
            </a:lvl1pPr>
          </a:lstStyle>
          <a:p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7F7F9075-A2BF-7B47-AEC2-2FF548B9F4A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87404" y="3327389"/>
            <a:ext cx="3335337" cy="1367730"/>
          </a:xfrm>
        </p:spPr>
        <p:txBody>
          <a:bodyPr/>
          <a:lstStyle>
            <a:lvl1pPr algn="ctr">
              <a:defRPr sz="9600" b="1"/>
            </a:lvl1pPr>
          </a:lstStyle>
          <a:p>
            <a:r>
              <a:rPr lang="de-DE" dirty="0"/>
              <a:t>1.000</a:t>
            </a:r>
          </a:p>
        </p:txBody>
      </p:sp>
      <p:sp>
        <p:nvSpPr>
          <p:cNvPr id="18" name="Textplatzhalter 5">
            <a:extLst>
              <a:ext uri="{FF2B5EF4-FFF2-40B4-BE49-F238E27FC236}">
                <a16:creationId xmlns:a16="http://schemas.microsoft.com/office/drawing/2014/main" id="{12FF64FD-722E-5842-B760-E4B669B828A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40610" y="3327389"/>
            <a:ext cx="3335337" cy="1367730"/>
          </a:xfrm>
        </p:spPr>
        <p:txBody>
          <a:bodyPr/>
          <a:lstStyle>
            <a:lvl1pPr algn="ctr">
              <a:defRPr sz="9600" b="1"/>
            </a:lvl1pPr>
          </a:lstStyle>
          <a:p>
            <a:r>
              <a:rPr lang="de-DE" dirty="0"/>
              <a:t>1.000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F145C856-2C85-4441-9E0E-9E012A04BA0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093816" y="3327389"/>
            <a:ext cx="3335337" cy="1367730"/>
          </a:xfrm>
        </p:spPr>
        <p:txBody>
          <a:bodyPr/>
          <a:lstStyle>
            <a:lvl1pPr algn="ctr">
              <a:defRPr sz="9600" b="1"/>
            </a:lvl1pPr>
          </a:lstStyle>
          <a:p>
            <a:r>
              <a:rPr lang="de-DE" dirty="0"/>
              <a:t>1.000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2BF31E7-1FEC-3B40-AE30-880677DE81B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87404" y="4761774"/>
            <a:ext cx="3335337" cy="267228"/>
          </a:xfrm>
        </p:spPr>
        <p:txBody>
          <a:bodyPr/>
          <a:lstStyle>
            <a:lvl1pPr algn="ctr">
              <a:defRPr/>
            </a:lvl1pPr>
          </a:lstStyle>
          <a:p>
            <a:r>
              <a:rPr lang="de-DE" dirty="0"/>
              <a:t>Einheit</a:t>
            </a:r>
          </a:p>
        </p:txBody>
      </p:sp>
      <p:sp>
        <p:nvSpPr>
          <p:cNvPr id="22" name="Textplatzhalter 8">
            <a:extLst>
              <a:ext uri="{FF2B5EF4-FFF2-40B4-BE49-F238E27FC236}">
                <a16:creationId xmlns:a16="http://schemas.microsoft.com/office/drawing/2014/main" id="{E2EBC520-177E-6544-938D-7159760AE79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45004" y="4761774"/>
            <a:ext cx="3335337" cy="267228"/>
          </a:xfrm>
        </p:spPr>
        <p:txBody>
          <a:bodyPr/>
          <a:lstStyle>
            <a:lvl1pPr algn="ctr">
              <a:defRPr/>
            </a:lvl1pPr>
          </a:lstStyle>
          <a:p>
            <a:r>
              <a:rPr lang="de-DE" dirty="0"/>
              <a:t>Einheit</a:t>
            </a:r>
          </a:p>
        </p:txBody>
      </p:sp>
      <p:sp>
        <p:nvSpPr>
          <p:cNvPr id="23" name="Textplatzhalter 8">
            <a:extLst>
              <a:ext uri="{FF2B5EF4-FFF2-40B4-BE49-F238E27FC236}">
                <a16:creationId xmlns:a16="http://schemas.microsoft.com/office/drawing/2014/main" id="{3E0AA792-D05B-4946-B310-300E701BF55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077204" y="4761774"/>
            <a:ext cx="3335337" cy="267228"/>
          </a:xfrm>
        </p:spPr>
        <p:txBody>
          <a:bodyPr/>
          <a:lstStyle>
            <a:lvl1pPr algn="ctr">
              <a:defRPr/>
            </a:lvl1pPr>
          </a:lstStyle>
          <a:p>
            <a:r>
              <a:rPr lang="de-DE" dirty="0"/>
              <a:t>Einheit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87EA9FE-5E60-A641-9FAA-2F7C080CC6E4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fld id="{A82395D1-15E6-43D9-BD1E-E2D2EF2DFE48}" type="datetime1">
              <a:rPr lang="de-DE" smtClean="0"/>
              <a:t>05.08.2020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B401A49-5989-BC45-A84C-FFF63A399A65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de-DE"/>
              <a:t>© TecAlliance GmbH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74EF795-DCFE-9348-BEEA-27B7A2738F58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CE82B8A1-0CCE-4815-9668-383D7DE7D8B4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459288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_Text-ein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74F0B35-3022-7F49-8E3F-7327DBD56C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DC2DAE3-F98B-3649-A768-44AAE493A66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4500" y="1527970"/>
            <a:ext cx="11341100" cy="388144"/>
          </a:xfrm>
          <a:prstGeom prst="rect">
            <a:avLst/>
          </a:prstGeom>
        </p:spPr>
        <p:txBody>
          <a:bodyPr/>
          <a:lstStyle>
            <a:lvl1pPr>
              <a:defRPr sz="24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id="{DBCE4F64-32B9-A045-8AC8-500D5CAA362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44500" y="1916113"/>
            <a:ext cx="11341100" cy="4176712"/>
          </a:xfrm>
        </p:spPr>
        <p:txBody>
          <a:bodyPr/>
          <a:lstStyle>
            <a:lvl1pPr marL="342900" indent="-342900">
              <a:buFont typeface="Wingdings" panose="05000000000000000000" pitchFamily="2" charset="2"/>
              <a:buChar char="§"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4C090E95-B08F-7044-B55E-E7736737AC1B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FBEB4A2A-DE34-4D46-A440-7596FB7E71E8}" type="datetime1">
              <a:rPr lang="de-DE" smtClean="0"/>
              <a:t>05.08.2020</a:t>
            </a:fld>
            <a:endParaRPr lang="de-DE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0392356E-407F-1443-82DF-688C63D37B8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© TecAlliance GmbH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58DBFE89-9D42-BC40-AF1E-59DF3F95D9C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E82B8A1-0CCE-4815-9668-383D7DE7D8B4}" type="slidenum">
              <a:rPr lang="de-DE" smtClean="0"/>
              <a:pPr/>
              <a:t>‹#›</a:t>
            </a:fld>
            <a:endParaRPr lang="de-DE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DEDEDC0A-6F9D-1A4B-97B6-66CD44F230F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16888" y="0"/>
            <a:ext cx="4076700" cy="137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541502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04E445F-3062-034A-89F3-3F9E8B50D3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Headline Calibri 32 </a:t>
            </a:r>
            <a:r>
              <a:rPr lang="de-DE" err="1"/>
              <a:t>pt</a:t>
            </a:r>
            <a:r>
              <a:rPr lang="de-DE"/>
              <a:t> bold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533532B-70DC-5744-A8DF-EFBE30433BFC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999C30C3-81D1-47FA-A7F2-5F9EB8D66E01}" type="datetime1">
              <a:rPr lang="de-DE" smtClean="0"/>
              <a:t>05.08.2020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D24F63F-AD2A-464B-8DC2-B0431D48980A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© TecAlliance GmbH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939744C-6F4C-5849-86BE-7F0A27DED58D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CE82B8A1-0CCE-4815-9668-383D7DE7D8B4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6" name="Textplatzhalter 6">
            <a:extLst>
              <a:ext uri="{FF2B5EF4-FFF2-40B4-BE49-F238E27FC236}">
                <a16:creationId xmlns:a16="http://schemas.microsoft.com/office/drawing/2014/main" id="{66E1CDCF-5096-3141-A68F-16C9AD8777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4500" y="1520825"/>
            <a:ext cx="5364163" cy="395288"/>
          </a:xfrm>
        </p:spPr>
        <p:txBody>
          <a:bodyPr/>
          <a:lstStyle>
            <a:lvl1pPr>
              <a:defRPr b="1"/>
            </a:lvl1pPr>
          </a:lstStyle>
          <a:p>
            <a:r>
              <a:rPr lang="de-DE" dirty="0"/>
              <a:t>Subheadline Calibri 24 </a:t>
            </a:r>
            <a:r>
              <a:rPr lang="de-DE" err="1"/>
              <a:t>pt</a:t>
            </a:r>
            <a:r>
              <a:rPr lang="de-DE"/>
              <a:t> bold</a:t>
            </a:r>
          </a:p>
          <a:p>
            <a:endParaRPr lang="de-DE"/>
          </a:p>
          <a:p>
            <a:endParaRPr lang="de-DE"/>
          </a:p>
          <a:p>
            <a:endParaRPr lang="de-DE" dirty="0"/>
          </a:p>
        </p:txBody>
      </p:sp>
      <p:sp>
        <p:nvSpPr>
          <p:cNvPr id="57" name="Textplatzhalter 8">
            <a:extLst>
              <a:ext uri="{FF2B5EF4-FFF2-40B4-BE49-F238E27FC236}">
                <a16:creationId xmlns:a16="http://schemas.microsoft.com/office/drawing/2014/main" id="{C572019C-F710-D540-B441-4A2E0AD75F5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4500" y="1916113"/>
            <a:ext cx="5364163" cy="448741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Tx/>
              <a:buFont typeface="Wingdings" pitchFamily="2" charset="2"/>
              <a:buNone/>
              <a:tabLst/>
              <a:defRPr/>
            </a:lvl1pPr>
          </a:lstStyle>
          <a:p>
            <a:r>
              <a:rPr lang="de-DE" dirty="0"/>
              <a:t>Text </a:t>
            </a:r>
            <a:r>
              <a:rPr lang="de-DE" dirty="0" err="1"/>
              <a:t>fields</a:t>
            </a:r>
            <a:r>
              <a:rPr lang="de-DE" dirty="0"/>
              <a:t> Calibri 20 </a:t>
            </a:r>
            <a:r>
              <a:rPr lang="de-DE" err="1"/>
              <a:t>pt</a:t>
            </a:r>
            <a:r>
              <a:rPr lang="de-DE"/>
              <a:t> regular</a:t>
            </a:r>
            <a:endParaRPr lang="de-DE" dirty="0"/>
          </a:p>
          <a:p>
            <a:endParaRPr lang="de-DE" dirty="0"/>
          </a:p>
        </p:txBody>
      </p:sp>
      <p:sp>
        <p:nvSpPr>
          <p:cNvPr id="58" name="Textplatzhalter 8">
            <a:extLst>
              <a:ext uri="{FF2B5EF4-FFF2-40B4-BE49-F238E27FC236}">
                <a16:creationId xmlns:a16="http://schemas.microsoft.com/office/drawing/2014/main" id="{74C5A8E2-0F7D-6141-9801-76BD8216902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4500" y="2842249"/>
            <a:ext cx="5364163" cy="448741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Tx/>
              <a:buFont typeface="Wingdings" pitchFamily="2" charset="2"/>
              <a:buNone/>
              <a:tabLst/>
              <a:defRPr/>
            </a:lvl1pPr>
          </a:lstStyle>
          <a:p>
            <a:r>
              <a:rPr lang="de-DE" dirty="0"/>
              <a:t>Primary Colours</a:t>
            </a:r>
          </a:p>
          <a:p>
            <a:endParaRPr lang="de-DE" dirty="0"/>
          </a:p>
        </p:txBody>
      </p:sp>
      <p:sp>
        <p:nvSpPr>
          <p:cNvPr id="59" name="Textplatzhalter 8">
            <a:extLst>
              <a:ext uri="{FF2B5EF4-FFF2-40B4-BE49-F238E27FC236}">
                <a16:creationId xmlns:a16="http://schemas.microsoft.com/office/drawing/2014/main" id="{C0756D76-6755-3F4D-9148-296D93BA4A0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4500" y="4295492"/>
            <a:ext cx="5364163" cy="448741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Tx/>
              <a:buFont typeface="Wingdings" pitchFamily="2" charset="2"/>
              <a:buNone/>
              <a:tabLst/>
              <a:defRPr/>
            </a:lvl1pPr>
          </a:lstStyle>
          <a:p>
            <a:r>
              <a:rPr lang="de-DE" dirty="0" err="1"/>
              <a:t>Secondary</a:t>
            </a:r>
            <a:r>
              <a:rPr lang="de-DE" dirty="0"/>
              <a:t> Colours</a:t>
            </a: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526F0648-FA17-AC4B-9189-FCED1B83EDF9}"/>
              </a:ext>
            </a:extLst>
          </p:cNvPr>
          <p:cNvSpPr/>
          <p:nvPr userDrawn="1"/>
        </p:nvSpPr>
        <p:spPr>
          <a:xfrm>
            <a:off x="442678" y="3310482"/>
            <a:ext cx="950400" cy="579600"/>
          </a:xfrm>
          <a:prstGeom prst="rect">
            <a:avLst/>
          </a:prstGeom>
          <a:solidFill>
            <a:schemeClr val="tx1"/>
          </a:soli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sz="1400" dirty="0" err="1">
              <a:solidFill>
                <a:schemeClr val="bg1"/>
              </a:solidFill>
            </a:endParaRP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83941B9A-DE57-2741-B583-0A73E1100322}"/>
              </a:ext>
            </a:extLst>
          </p:cNvPr>
          <p:cNvSpPr/>
          <p:nvPr userDrawn="1"/>
        </p:nvSpPr>
        <p:spPr>
          <a:xfrm>
            <a:off x="4826586" y="3310482"/>
            <a:ext cx="950400" cy="579600"/>
          </a:xfrm>
          <a:prstGeom prst="rect">
            <a:avLst/>
          </a:prstGeom>
          <a:solidFill>
            <a:schemeClr val="bg2"/>
          </a:soli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sz="1400" dirty="0" err="1">
              <a:solidFill>
                <a:schemeClr val="bg1"/>
              </a:solidFill>
            </a:endParaRP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7D3FF4CC-54DD-804A-B5BB-5C338913FB7A}"/>
              </a:ext>
            </a:extLst>
          </p:cNvPr>
          <p:cNvSpPr/>
          <p:nvPr userDrawn="1"/>
        </p:nvSpPr>
        <p:spPr>
          <a:xfrm>
            <a:off x="2634632" y="3318949"/>
            <a:ext cx="950400" cy="579600"/>
          </a:xfrm>
          <a:prstGeom prst="rect">
            <a:avLst/>
          </a:prstGeom>
          <a:solidFill>
            <a:schemeClr val="tx2"/>
          </a:soli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sz="1400" dirty="0" err="1">
              <a:solidFill>
                <a:schemeClr val="bg1"/>
              </a:solidFill>
            </a:endParaRP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76A6F738-677D-4849-A95B-476B09D44E2C}"/>
              </a:ext>
            </a:extLst>
          </p:cNvPr>
          <p:cNvSpPr/>
          <p:nvPr userDrawn="1"/>
        </p:nvSpPr>
        <p:spPr>
          <a:xfrm>
            <a:off x="1538655" y="3302722"/>
            <a:ext cx="950400" cy="57960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sz="1400" dirty="0" err="1">
              <a:solidFill>
                <a:schemeClr val="bg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927702FB-4CFD-0C48-A08C-23BA810E05D4}"/>
              </a:ext>
            </a:extLst>
          </p:cNvPr>
          <p:cNvSpPr/>
          <p:nvPr userDrawn="1"/>
        </p:nvSpPr>
        <p:spPr>
          <a:xfrm>
            <a:off x="3734359" y="3317873"/>
            <a:ext cx="949767" cy="578804"/>
          </a:xfrm>
          <a:prstGeom prst="rect">
            <a:avLst/>
          </a:prstGeom>
          <a:solidFill>
            <a:schemeClr val="accent1"/>
          </a:soli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sz="1400" dirty="0" err="1">
              <a:solidFill>
                <a:schemeClr val="bg1"/>
              </a:solidFill>
            </a:endParaRP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354DF709-A81F-A141-BBCA-18317FBB527F}"/>
              </a:ext>
            </a:extLst>
          </p:cNvPr>
          <p:cNvSpPr/>
          <p:nvPr userDrawn="1"/>
        </p:nvSpPr>
        <p:spPr>
          <a:xfrm>
            <a:off x="1547960" y="4758371"/>
            <a:ext cx="949767" cy="578804"/>
          </a:xfrm>
          <a:prstGeom prst="rect">
            <a:avLst/>
          </a:prstGeom>
          <a:solidFill>
            <a:schemeClr val="accent2"/>
          </a:soli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sz="1400" dirty="0" err="1">
              <a:solidFill>
                <a:schemeClr val="bg1"/>
              </a:solidFill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B0C61650-414B-4C47-B23C-212EECEB91D9}"/>
              </a:ext>
            </a:extLst>
          </p:cNvPr>
          <p:cNvSpPr/>
          <p:nvPr userDrawn="1"/>
        </p:nvSpPr>
        <p:spPr>
          <a:xfrm>
            <a:off x="460096" y="4744233"/>
            <a:ext cx="949767" cy="578804"/>
          </a:xfrm>
          <a:prstGeom prst="rect">
            <a:avLst/>
          </a:prstGeom>
          <a:solidFill>
            <a:schemeClr val="accent3"/>
          </a:soli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sz="1400" dirty="0" err="1">
              <a:solidFill>
                <a:schemeClr val="bg1"/>
              </a:solidFill>
            </a:endParaRP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DAC471C7-FDE0-E54C-BD16-8AFF883E62D3}"/>
              </a:ext>
            </a:extLst>
          </p:cNvPr>
          <p:cNvSpPr/>
          <p:nvPr userDrawn="1"/>
        </p:nvSpPr>
        <p:spPr>
          <a:xfrm>
            <a:off x="2647418" y="4758371"/>
            <a:ext cx="949767" cy="578804"/>
          </a:xfrm>
          <a:prstGeom prst="rect">
            <a:avLst/>
          </a:prstGeom>
          <a:solidFill>
            <a:schemeClr val="accent4"/>
          </a:soli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sz="1400" dirty="0" err="1">
              <a:solidFill>
                <a:schemeClr val="bg1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B93CF392-96D7-E74A-8C01-A7CEF5A0E9AA}"/>
              </a:ext>
            </a:extLst>
          </p:cNvPr>
          <p:cNvSpPr/>
          <p:nvPr userDrawn="1"/>
        </p:nvSpPr>
        <p:spPr>
          <a:xfrm>
            <a:off x="3741439" y="4744233"/>
            <a:ext cx="949767" cy="578804"/>
          </a:xfrm>
          <a:prstGeom prst="rect">
            <a:avLst/>
          </a:prstGeom>
          <a:solidFill>
            <a:schemeClr val="accent5"/>
          </a:soli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sz="1400" dirty="0" err="1">
              <a:solidFill>
                <a:schemeClr val="bg1"/>
              </a:solidFill>
            </a:endParaRP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56B9E037-9280-0541-84C2-B4053EC4B81C}"/>
              </a:ext>
            </a:extLst>
          </p:cNvPr>
          <p:cNvSpPr/>
          <p:nvPr userDrawn="1"/>
        </p:nvSpPr>
        <p:spPr>
          <a:xfrm>
            <a:off x="1553757" y="5510350"/>
            <a:ext cx="949767" cy="578804"/>
          </a:xfrm>
          <a:prstGeom prst="rect">
            <a:avLst/>
          </a:prstGeom>
          <a:solidFill>
            <a:schemeClr val="accent6"/>
          </a:soli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sz="1400" dirty="0" err="1">
              <a:solidFill>
                <a:schemeClr val="bg1"/>
              </a:solidFill>
            </a:endParaRP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17A12977-2192-F04F-AA9F-0BA1E7A75589}"/>
              </a:ext>
            </a:extLst>
          </p:cNvPr>
          <p:cNvSpPr/>
          <p:nvPr userDrawn="1"/>
        </p:nvSpPr>
        <p:spPr>
          <a:xfrm>
            <a:off x="3734359" y="5510350"/>
            <a:ext cx="949767" cy="578804"/>
          </a:xfrm>
          <a:prstGeom prst="rect">
            <a:avLst/>
          </a:prstGeom>
          <a:solidFill>
            <a:srgbClr val="8F1660"/>
          </a:soli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sz="1400" dirty="0" err="1">
              <a:solidFill>
                <a:schemeClr val="bg1"/>
              </a:solidFill>
            </a:endParaRP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C6A672CF-B5F8-B04A-8E1D-320C70B9FDBA}"/>
              </a:ext>
            </a:extLst>
          </p:cNvPr>
          <p:cNvSpPr/>
          <p:nvPr userDrawn="1"/>
        </p:nvSpPr>
        <p:spPr>
          <a:xfrm>
            <a:off x="4828159" y="5510350"/>
            <a:ext cx="949767" cy="578804"/>
          </a:xfrm>
          <a:prstGeom prst="rect">
            <a:avLst/>
          </a:prstGeom>
          <a:solidFill>
            <a:srgbClr val="4C1E65"/>
          </a:soli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sz="1400" dirty="0" err="1">
              <a:solidFill>
                <a:schemeClr val="bg1"/>
              </a:solidFill>
            </a:endParaRP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39B50A2A-4B9E-C744-AE45-E393A1772C89}"/>
              </a:ext>
            </a:extLst>
          </p:cNvPr>
          <p:cNvSpPr/>
          <p:nvPr userDrawn="1"/>
        </p:nvSpPr>
        <p:spPr>
          <a:xfrm>
            <a:off x="460096" y="5510821"/>
            <a:ext cx="949767" cy="578804"/>
          </a:xfrm>
          <a:prstGeom prst="rect">
            <a:avLst/>
          </a:prstGeom>
          <a:solidFill>
            <a:srgbClr val="F9B000"/>
          </a:soli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sz="1400" dirty="0" err="1">
              <a:solidFill>
                <a:schemeClr val="bg1"/>
              </a:solidFill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DAAB5159-0421-294F-A890-27DDBFF09B04}"/>
              </a:ext>
            </a:extLst>
          </p:cNvPr>
          <p:cNvSpPr/>
          <p:nvPr userDrawn="1"/>
        </p:nvSpPr>
        <p:spPr>
          <a:xfrm>
            <a:off x="2647418" y="5510350"/>
            <a:ext cx="949767" cy="578804"/>
          </a:xfrm>
          <a:prstGeom prst="rect">
            <a:avLst/>
          </a:prstGeom>
          <a:solidFill>
            <a:srgbClr val="C61932"/>
          </a:soli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sz="1400" dirty="0" err="1">
              <a:solidFill>
                <a:schemeClr val="bg1"/>
              </a:solidFill>
            </a:endParaRPr>
          </a:p>
        </p:txBody>
      </p:sp>
      <p:sp>
        <p:nvSpPr>
          <p:cNvPr id="74" name="Textfeld 6">
            <a:extLst>
              <a:ext uri="{FF2B5EF4-FFF2-40B4-BE49-F238E27FC236}">
                <a16:creationId xmlns:a16="http://schemas.microsoft.com/office/drawing/2014/main" id="{99CAF02B-B232-3D42-827A-E308AEF48200}"/>
              </a:ext>
            </a:extLst>
          </p:cNvPr>
          <p:cNvSpPr txBox="1"/>
          <p:nvPr userDrawn="1"/>
        </p:nvSpPr>
        <p:spPr>
          <a:xfrm>
            <a:off x="3724697" y="3478804"/>
            <a:ext cx="93577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>
                <a:solidFill>
                  <a:schemeClr val="bg1"/>
                </a:solidFill>
              </a:rPr>
              <a:t>54 I 113 I 129</a:t>
            </a:r>
          </a:p>
        </p:txBody>
      </p:sp>
      <p:sp>
        <p:nvSpPr>
          <p:cNvPr id="75" name="Textfeld 7">
            <a:extLst>
              <a:ext uri="{FF2B5EF4-FFF2-40B4-BE49-F238E27FC236}">
                <a16:creationId xmlns:a16="http://schemas.microsoft.com/office/drawing/2014/main" id="{C4814A94-F9CD-0042-8BAF-F8B6B442D03B}"/>
              </a:ext>
            </a:extLst>
          </p:cNvPr>
          <p:cNvSpPr txBox="1"/>
          <p:nvPr userDrawn="1"/>
        </p:nvSpPr>
        <p:spPr>
          <a:xfrm>
            <a:off x="1560290" y="4905164"/>
            <a:ext cx="93577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>
                <a:solidFill>
                  <a:schemeClr val="bg1"/>
                </a:solidFill>
              </a:rPr>
              <a:t>0 I 155 I 164</a:t>
            </a:r>
          </a:p>
        </p:txBody>
      </p:sp>
      <p:sp>
        <p:nvSpPr>
          <p:cNvPr id="76" name="Textfeld 8">
            <a:extLst>
              <a:ext uri="{FF2B5EF4-FFF2-40B4-BE49-F238E27FC236}">
                <a16:creationId xmlns:a16="http://schemas.microsoft.com/office/drawing/2014/main" id="{C35A144D-56C7-7C4D-BA23-7896AD18D279}"/>
              </a:ext>
            </a:extLst>
          </p:cNvPr>
          <p:cNvSpPr txBox="1"/>
          <p:nvPr userDrawn="1"/>
        </p:nvSpPr>
        <p:spPr>
          <a:xfrm>
            <a:off x="477494" y="4905164"/>
            <a:ext cx="98982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>
                <a:solidFill>
                  <a:schemeClr val="bg1"/>
                </a:solidFill>
              </a:rPr>
              <a:t>100 I 194 I 200</a:t>
            </a:r>
          </a:p>
        </p:txBody>
      </p:sp>
      <p:sp>
        <p:nvSpPr>
          <p:cNvPr id="77" name="Textfeld 9">
            <a:extLst>
              <a:ext uri="{FF2B5EF4-FFF2-40B4-BE49-F238E27FC236}">
                <a16:creationId xmlns:a16="http://schemas.microsoft.com/office/drawing/2014/main" id="{68B593DE-0A8C-1D41-AAC4-03DD29E5BAB7}"/>
              </a:ext>
            </a:extLst>
          </p:cNvPr>
          <p:cNvSpPr txBox="1"/>
          <p:nvPr userDrawn="1"/>
        </p:nvSpPr>
        <p:spPr>
          <a:xfrm>
            <a:off x="2669316" y="4905164"/>
            <a:ext cx="98982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>
                <a:solidFill>
                  <a:schemeClr val="bg1"/>
                </a:solidFill>
              </a:rPr>
              <a:t>0 I 169 I 122</a:t>
            </a:r>
          </a:p>
        </p:txBody>
      </p:sp>
      <p:sp>
        <p:nvSpPr>
          <p:cNvPr id="78" name="Textfeld 10">
            <a:extLst>
              <a:ext uri="{FF2B5EF4-FFF2-40B4-BE49-F238E27FC236}">
                <a16:creationId xmlns:a16="http://schemas.microsoft.com/office/drawing/2014/main" id="{0D5DE127-CEA3-434A-B1D0-7601884D2943}"/>
              </a:ext>
            </a:extLst>
          </p:cNvPr>
          <p:cNvSpPr txBox="1"/>
          <p:nvPr userDrawn="1"/>
        </p:nvSpPr>
        <p:spPr>
          <a:xfrm>
            <a:off x="3767651" y="4905164"/>
            <a:ext cx="98982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>
                <a:solidFill>
                  <a:schemeClr val="bg1"/>
                </a:solidFill>
              </a:rPr>
              <a:t>0  I 133 I 90</a:t>
            </a:r>
          </a:p>
        </p:txBody>
      </p:sp>
      <p:sp>
        <p:nvSpPr>
          <p:cNvPr id="79" name="Textfeld 11">
            <a:extLst>
              <a:ext uri="{FF2B5EF4-FFF2-40B4-BE49-F238E27FC236}">
                <a16:creationId xmlns:a16="http://schemas.microsoft.com/office/drawing/2014/main" id="{DF766253-F8C5-C24D-A8A9-8CD7B8C8FD72}"/>
              </a:ext>
            </a:extLst>
          </p:cNvPr>
          <p:cNvSpPr txBox="1"/>
          <p:nvPr userDrawn="1"/>
        </p:nvSpPr>
        <p:spPr>
          <a:xfrm>
            <a:off x="502473" y="5696534"/>
            <a:ext cx="98982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>
                <a:solidFill>
                  <a:schemeClr val="bg1"/>
                </a:solidFill>
              </a:rPr>
              <a:t>249 I 176 I 0</a:t>
            </a:r>
          </a:p>
        </p:txBody>
      </p:sp>
      <p:sp>
        <p:nvSpPr>
          <p:cNvPr id="80" name="Textfeld 12">
            <a:extLst>
              <a:ext uri="{FF2B5EF4-FFF2-40B4-BE49-F238E27FC236}">
                <a16:creationId xmlns:a16="http://schemas.microsoft.com/office/drawing/2014/main" id="{FEE5BA7D-A206-394B-86F3-ACF6D72B0B6C}"/>
              </a:ext>
            </a:extLst>
          </p:cNvPr>
          <p:cNvSpPr txBox="1"/>
          <p:nvPr userDrawn="1"/>
        </p:nvSpPr>
        <p:spPr>
          <a:xfrm>
            <a:off x="1578626" y="5686928"/>
            <a:ext cx="98982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>
                <a:solidFill>
                  <a:schemeClr val="bg1"/>
                </a:solidFill>
              </a:rPr>
              <a:t>236 I 102 I 8</a:t>
            </a:r>
          </a:p>
        </p:txBody>
      </p:sp>
      <p:sp>
        <p:nvSpPr>
          <p:cNvPr id="81" name="Textfeld 13">
            <a:extLst>
              <a:ext uri="{FF2B5EF4-FFF2-40B4-BE49-F238E27FC236}">
                <a16:creationId xmlns:a16="http://schemas.microsoft.com/office/drawing/2014/main" id="{AC366C13-A5A0-A946-8116-71B161F3A60D}"/>
              </a:ext>
            </a:extLst>
          </p:cNvPr>
          <p:cNvSpPr txBox="1"/>
          <p:nvPr userDrawn="1"/>
        </p:nvSpPr>
        <p:spPr>
          <a:xfrm>
            <a:off x="2689830" y="5686928"/>
            <a:ext cx="98982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>
                <a:solidFill>
                  <a:schemeClr val="bg1"/>
                </a:solidFill>
              </a:rPr>
              <a:t>198 I 25 I 50</a:t>
            </a:r>
          </a:p>
        </p:txBody>
      </p:sp>
      <p:sp>
        <p:nvSpPr>
          <p:cNvPr id="82" name="Textfeld 14">
            <a:extLst>
              <a:ext uri="{FF2B5EF4-FFF2-40B4-BE49-F238E27FC236}">
                <a16:creationId xmlns:a16="http://schemas.microsoft.com/office/drawing/2014/main" id="{9F163334-6C85-644C-A85D-F97B11AB84D5}"/>
              </a:ext>
            </a:extLst>
          </p:cNvPr>
          <p:cNvSpPr txBox="1"/>
          <p:nvPr userDrawn="1"/>
        </p:nvSpPr>
        <p:spPr>
          <a:xfrm>
            <a:off x="3801034" y="5697252"/>
            <a:ext cx="98982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>
                <a:solidFill>
                  <a:schemeClr val="bg1"/>
                </a:solidFill>
              </a:rPr>
              <a:t>143 I 22 I 96</a:t>
            </a:r>
          </a:p>
        </p:txBody>
      </p:sp>
      <p:sp>
        <p:nvSpPr>
          <p:cNvPr id="83" name="Textfeld 15">
            <a:extLst>
              <a:ext uri="{FF2B5EF4-FFF2-40B4-BE49-F238E27FC236}">
                <a16:creationId xmlns:a16="http://schemas.microsoft.com/office/drawing/2014/main" id="{8748B1D0-D9C2-B040-BE72-E60AACF31476}"/>
              </a:ext>
            </a:extLst>
          </p:cNvPr>
          <p:cNvSpPr txBox="1"/>
          <p:nvPr userDrawn="1"/>
        </p:nvSpPr>
        <p:spPr>
          <a:xfrm>
            <a:off x="4877187" y="5696534"/>
            <a:ext cx="98982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>
                <a:solidFill>
                  <a:schemeClr val="bg1"/>
                </a:solidFill>
              </a:rPr>
              <a:t>76 I 30 I 101</a:t>
            </a:r>
          </a:p>
        </p:txBody>
      </p:sp>
      <p:sp>
        <p:nvSpPr>
          <p:cNvPr id="84" name="Textfeld 16">
            <a:extLst>
              <a:ext uri="{FF2B5EF4-FFF2-40B4-BE49-F238E27FC236}">
                <a16:creationId xmlns:a16="http://schemas.microsoft.com/office/drawing/2014/main" id="{1C7D3C16-FE49-AB4E-95A0-1F9C85078BED}"/>
              </a:ext>
            </a:extLst>
          </p:cNvPr>
          <p:cNvSpPr txBox="1"/>
          <p:nvPr userDrawn="1"/>
        </p:nvSpPr>
        <p:spPr>
          <a:xfrm>
            <a:off x="527031" y="3451469"/>
            <a:ext cx="98982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>
                <a:solidFill>
                  <a:schemeClr val="bg1"/>
                </a:solidFill>
              </a:rPr>
              <a:t>0 I 51 I 102</a:t>
            </a:r>
          </a:p>
        </p:txBody>
      </p:sp>
      <p:sp>
        <p:nvSpPr>
          <p:cNvPr id="85" name="Textfeld 17">
            <a:extLst>
              <a:ext uri="{FF2B5EF4-FFF2-40B4-BE49-F238E27FC236}">
                <a16:creationId xmlns:a16="http://schemas.microsoft.com/office/drawing/2014/main" id="{9D290235-6146-584F-91F6-6299C204A5D1}"/>
              </a:ext>
            </a:extLst>
          </p:cNvPr>
          <p:cNvSpPr txBox="1"/>
          <p:nvPr userDrawn="1"/>
        </p:nvSpPr>
        <p:spPr>
          <a:xfrm>
            <a:off x="2670858" y="3451469"/>
            <a:ext cx="98982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>
                <a:solidFill>
                  <a:schemeClr val="bg1"/>
                </a:solidFill>
              </a:rPr>
              <a:t>63 I 158 I 209</a:t>
            </a:r>
          </a:p>
        </p:txBody>
      </p:sp>
      <p:sp>
        <p:nvSpPr>
          <p:cNvPr id="86" name="Textfeld 18">
            <a:extLst>
              <a:ext uri="{FF2B5EF4-FFF2-40B4-BE49-F238E27FC236}">
                <a16:creationId xmlns:a16="http://schemas.microsoft.com/office/drawing/2014/main" id="{5801C114-819F-3A4D-82AF-630E3BA18CF5}"/>
              </a:ext>
            </a:extLst>
          </p:cNvPr>
          <p:cNvSpPr txBox="1"/>
          <p:nvPr userDrawn="1"/>
        </p:nvSpPr>
        <p:spPr>
          <a:xfrm>
            <a:off x="4837092" y="3451469"/>
            <a:ext cx="98982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>
                <a:solidFill>
                  <a:schemeClr val="bg1"/>
                </a:solidFill>
              </a:rPr>
              <a:t>194 I 208 I 216</a:t>
            </a:r>
          </a:p>
        </p:txBody>
      </p:sp>
      <p:pic>
        <p:nvPicPr>
          <p:cNvPr id="87" name="Grafik 86">
            <a:extLst>
              <a:ext uri="{FF2B5EF4-FFF2-40B4-BE49-F238E27FC236}">
                <a16:creationId xmlns:a16="http://schemas.microsoft.com/office/drawing/2014/main" id="{86A1A0B8-9BE2-EB4E-A08F-5CF246DCE1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5664" y="1562138"/>
            <a:ext cx="4497814" cy="4527866"/>
          </a:xfrm>
          <a:prstGeom prst="rect">
            <a:avLst/>
          </a:prstGeom>
        </p:spPr>
      </p:pic>
      <p:sp>
        <p:nvSpPr>
          <p:cNvPr id="88" name="Textfeld 19">
            <a:extLst>
              <a:ext uri="{FF2B5EF4-FFF2-40B4-BE49-F238E27FC236}">
                <a16:creationId xmlns:a16="http://schemas.microsoft.com/office/drawing/2014/main" id="{D9C0CA81-496F-4049-8F56-62FDBCE90CCA}"/>
              </a:ext>
            </a:extLst>
          </p:cNvPr>
          <p:cNvSpPr txBox="1"/>
          <p:nvPr userDrawn="1"/>
        </p:nvSpPr>
        <p:spPr>
          <a:xfrm>
            <a:off x="8130686" y="5145003"/>
            <a:ext cx="2484276" cy="577081"/>
          </a:xfrm>
          <a:prstGeom prst="rect">
            <a:avLst/>
          </a:prstGeom>
          <a:noFill/>
          <a:ln w="9525" cap="flat" cmpd="sng" algn="ctr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de-DE" sz="1050" b="1" u="sng" dirty="0"/>
              <a:t>Attention</a:t>
            </a:r>
            <a:r>
              <a:rPr lang="de-DE" sz="1050" b="1" dirty="0"/>
              <a:t>: </a:t>
            </a:r>
            <a:r>
              <a:rPr lang="de-DE" sz="1050" dirty="0"/>
              <a:t>Due </a:t>
            </a:r>
            <a:r>
              <a:rPr lang="de-DE" sz="1050" dirty="0" err="1"/>
              <a:t>to</a:t>
            </a:r>
            <a:r>
              <a:rPr lang="de-DE" sz="1050" dirty="0"/>
              <a:t> </a:t>
            </a:r>
            <a:r>
              <a:rPr lang="de-DE" sz="1050" dirty="0" err="1"/>
              <a:t>technical</a:t>
            </a:r>
            <a:r>
              <a:rPr lang="de-DE" sz="1050" dirty="0"/>
              <a:t> </a:t>
            </a:r>
            <a:r>
              <a:rPr lang="de-DE" sz="1050" dirty="0" err="1"/>
              <a:t>limitations</a:t>
            </a:r>
            <a:r>
              <a:rPr lang="de-DE" sz="1050" dirty="0"/>
              <a:t> not all </a:t>
            </a:r>
            <a:r>
              <a:rPr lang="de-DE" sz="1050" dirty="0" err="1"/>
              <a:t>secondary</a:t>
            </a:r>
            <a:r>
              <a:rPr lang="de-DE" sz="1050" dirty="0"/>
              <a:t> </a:t>
            </a:r>
            <a:r>
              <a:rPr lang="de-DE" sz="1050" dirty="0" err="1"/>
              <a:t>colours</a:t>
            </a:r>
            <a:r>
              <a:rPr lang="de-DE" sz="1050" dirty="0"/>
              <a:t> </a:t>
            </a:r>
            <a:r>
              <a:rPr lang="de-DE" sz="1050" dirty="0" err="1"/>
              <a:t>are</a:t>
            </a:r>
            <a:r>
              <a:rPr lang="de-DE" sz="1050" dirty="0"/>
              <a:t> </a:t>
            </a:r>
            <a:r>
              <a:rPr lang="de-DE" sz="1050" dirty="0" err="1"/>
              <a:t>listed</a:t>
            </a:r>
            <a:r>
              <a:rPr lang="de-DE" sz="1050" dirty="0"/>
              <a:t> in </a:t>
            </a:r>
            <a:r>
              <a:rPr lang="de-DE" sz="1050" dirty="0" err="1"/>
              <a:t>this</a:t>
            </a:r>
            <a:r>
              <a:rPr lang="de-DE" sz="1050" dirty="0"/>
              <a:t> </a:t>
            </a:r>
            <a:r>
              <a:rPr lang="de-DE" sz="1050" dirty="0" err="1"/>
              <a:t>graphic</a:t>
            </a:r>
            <a:r>
              <a:rPr lang="de-DE" sz="1050" dirty="0"/>
              <a:t> and </a:t>
            </a:r>
            <a:r>
              <a:rPr lang="de-DE" sz="1050" dirty="0" err="1"/>
              <a:t>the</a:t>
            </a:r>
            <a:r>
              <a:rPr lang="de-DE" sz="1050" dirty="0"/>
              <a:t> </a:t>
            </a:r>
            <a:r>
              <a:rPr lang="de-DE" sz="1050" dirty="0" err="1"/>
              <a:t>predefined</a:t>
            </a:r>
            <a:r>
              <a:rPr lang="de-DE" sz="1050" dirty="0"/>
              <a:t> </a:t>
            </a:r>
            <a:r>
              <a:rPr lang="de-DE" sz="1050" dirty="0" err="1"/>
              <a:t>colours</a:t>
            </a:r>
            <a:endParaRPr lang="de-DE" sz="1050" dirty="0"/>
          </a:p>
        </p:txBody>
      </p:sp>
      <p:sp>
        <p:nvSpPr>
          <p:cNvPr id="89" name="Textfeld 16">
            <a:extLst>
              <a:ext uri="{FF2B5EF4-FFF2-40B4-BE49-F238E27FC236}">
                <a16:creationId xmlns:a16="http://schemas.microsoft.com/office/drawing/2014/main" id="{105E99BE-6DE1-FE4B-8C89-A65622423F24}"/>
              </a:ext>
            </a:extLst>
          </p:cNvPr>
          <p:cNvSpPr txBox="1"/>
          <p:nvPr userDrawn="1"/>
        </p:nvSpPr>
        <p:spPr>
          <a:xfrm>
            <a:off x="1535538" y="3450244"/>
            <a:ext cx="98982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>
                <a:solidFill>
                  <a:schemeClr val="tx1">
                    <a:lumMod val="50000"/>
                  </a:schemeClr>
                </a:solidFill>
              </a:rPr>
              <a:t>255 I 255 I 255</a:t>
            </a:r>
          </a:p>
        </p:txBody>
      </p:sp>
    </p:spTree>
    <p:extLst>
      <p:ext uri="{BB962C8B-B14F-4D97-AF65-F5344CB8AC3E}">
        <p14:creationId xmlns:p14="http://schemas.microsoft.com/office/powerpoint/2010/main" val="396097135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_Text-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74F0B35-3022-7F49-8E3F-7327DBD56C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DC2DAE3-F98B-3649-A768-44AAE493A66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4500" y="1527970"/>
            <a:ext cx="5364163" cy="388144"/>
          </a:xfrm>
          <a:prstGeom prst="rect">
            <a:avLst/>
          </a:prstGeom>
        </p:spPr>
        <p:txBody>
          <a:bodyPr/>
          <a:lstStyle>
            <a:lvl1pPr>
              <a:defRPr sz="24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id="{DBCE4F64-32B9-A045-8AC8-500D5CAA362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44500" y="1916113"/>
            <a:ext cx="5364163" cy="4176712"/>
          </a:xfrm>
        </p:spPr>
        <p:txBody>
          <a:bodyPr/>
          <a:lstStyle>
            <a:lvl1pPr marL="342900" indent="-342900">
              <a:buFont typeface="Wingdings" panose="05000000000000000000" pitchFamily="2" charset="2"/>
              <a:buChar char="§"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platzhalter 6">
            <a:extLst>
              <a:ext uri="{FF2B5EF4-FFF2-40B4-BE49-F238E27FC236}">
                <a16:creationId xmlns:a16="http://schemas.microsoft.com/office/drawing/2014/main" id="{758223CE-3815-7841-A076-B7AABE9FAB8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88100" y="1527970"/>
            <a:ext cx="5364163" cy="388144"/>
          </a:xfrm>
          <a:prstGeom prst="rect">
            <a:avLst/>
          </a:prstGeom>
        </p:spPr>
        <p:txBody>
          <a:bodyPr/>
          <a:lstStyle>
            <a:lvl1pPr>
              <a:defRPr lang="de-DE" sz="24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Inhaltsplatzhalter 10">
            <a:extLst>
              <a:ext uri="{FF2B5EF4-FFF2-40B4-BE49-F238E27FC236}">
                <a16:creationId xmlns:a16="http://schemas.microsoft.com/office/drawing/2014/main" id="{511F0412-B290-5E4D-93E3-F171F29812E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388100" y="1916113"/>
            <a:ext cx="5364163" cy="4176712"/>
          </a:xfrm>
        </p:spPr>
        <p:txBody>
          <a:bodyPr/>
          <a:lstStyle>
            <a:lvl1pPr marL="342900" indent="-3429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lang="de-DE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31164C9B-85A0-EE44-8056-80BD527B436D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A68DEF68-6951-41C3-A2B7-4B1808A539C2}" type="datetime1">
              <a:rPr lang="de-DE" smtClean="0"/>
              <a:t>05.08.2020</a:t>
            </a:fld>
            <a:endParaRPr lang="de-DE" dirty="0"/>
          </a:p>
        </p:txBody>
      </p:sp>
      <p:sp>
        <p:nvSpPr>
          <p:cNvPr id="12" name="Fußzeilenplatzhalter 11">
            <a:extLst>
              <a:ext uri="{FF2B5EF4-FFF2-40B4-BE49-F238E27FC236}">
                <a16:creationId xmlns:a16="http://schemas.microsoft.com/office/drawing/2014/main" id="{567830F8-985C-4A46-A008-D5A3623613D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© TecAlliance GmbH</a:t>
            </a:r>
            <a:endParaRPr lang="de-DE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E574ECC8-82A3-3247-956D-413FEA7E711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CE82B8A1-0CCE-4815-9668-383D7DE7D8B4}" type="slidenum">
              <a:rPr lang="de-DE" smtClean="0"/>
              <a:pPr/>
              <a:t>‹#›</a:t>
            </a:fld>
            <a:endParaRPr lang="de-DE" dirty="0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9AAC8A04-C4AB-A641-BBAE-1ABEE64E599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V="1">
            <a:off x="8956217" y="0"/>
            <a:ext cx="3252230" cy="1393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68900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_Text-dr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74F0B35-3022-7F49-8E3F-7327DBD56C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DC2DAE3-F98B-3649-A768-44AAE493A66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4501" y="1527970"/>
            <a:ext cx="3600066" cy="388144"/>
          </a:xfrm>
          <a:prstGeom prst="rect">
            <a:avLst/>
          </a:prstGeom>
        </p:spPr>
        <p:txBody>
          <a:bodyPr/>
          <a:lstStyle>
            <a:lvl1pPr>
              <a:defRPr sz="24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id="{DBCE4F64-32B9-A045-8AC8-500D5CAA362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44501" y="1916113"/>
            <a:ext cx="3600066" cy="4176712"/>
          </a:xfrm>
        </p:spPr>
        <p:txBody>
          <a:bodyPr/>
          <a:lstStyle>
            <a:lvl1pPr marL="342900" indent="-3429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lang="de-DE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7BE04367-DC40-2E4F-9692-BE822296151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18001" y="1527970"/>
            <a:ext cx="3600066" cy="388144"/>
          </a:xfrm>
          <a:prstGeom prst="rect">
            <a:avLst/>
          </a:prstGeom>
        </p:spPr>
        <p:txBody>
          <a:bodyPr/>
          <a:lstStyle>
            <a:lvl1pPr>
              <a:defRPr sz="24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Inhaltsplatzhalter 10">
            <a:extLst>
              <a:ext uri="{FF2B5EF4-FFF2-40B4-BE49-F238E27FC236}">
                <a16:creationId xmlns:a16="http://schemas.microsoft.com/office/drawing/2014/main" id="{C3A8C4AD-5490-9C4C-8609-72A1CFE08EC7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318001" y="1916113"/>
            <a:ext cx="3600066" cy="4176712"/>
          </a:xfrm>
        </p:spPr>
        <p:txBody>
          <a:bodyPr/>
          <a:lstStyle>
            <a:lvl1pPr marL="342900" indent="-342900">
              <a:buFont typeface="Wingdings" panose="05000000000000000000" pitchFamily="2" charset="2"/>
              <a:buChar char="§"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427F3449-0B0A-5F41-86DC-AC3C66C5161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153401" y="1527970"/>
            <a:ext cx="3600066" cy="388144"/>
          </a:xfrm>
          <a:prstGeom prst="rect">
            <a:avLst/>
          </a:prstGeom>
        </p:spPr>
        <p:txBody>
          <a:bodyPr/>
          <a:lstStyle>
            <a:lvl1pPr>
              <a:defRPr sz="24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Inhaltsplatzhalter 10">
            <a:extLst>
              <a:ext uri="{FF2B5EF4-FFF2-40B4-BE49-F238E27FC236}">
                <a16:creationId xmlns:a16="http://schemas.microsoft.com/office/drawing/2014/main" id="{0952AFFF-30E0-E84F-90BE-F6A969679287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153401" y="1916113"/>
            <a:ext cx="3600066" cy="4176712"/>
          </a:xfrm>
        </p:spPr>
        <p:txBody>
          <a:bodyPr/>
          <a:lstStyle>
            <a:lvl1pPr marL="342900" indent="-342900">
              <a:buFont typeface="Wingdings" panose="05000000000000000000" pitchFamily="2" charset="2"/>
              <a:buChar char="§"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61C0823B-D6E9-CF48-9264-5F7F0F835865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C36EAB33-3781-4D22-A357-F2DC03175613}" type="datetime1">
              <a:rPr lang="de-DE" smtClean="0"/>
              <a:t>05.08.2020</a:t>
            </a:fld>
            <a:endParaRPr lang="de-DE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53152AA-65DC-2345-B47A-FFF56DECE953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/>
              <a:t>© TecAlliance GmbH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86763C07-555D-B147-8E80-E148FB9AA48B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CE82B8A1-0CCE-4815-9668-383D7DE7D8B4}" type="slidenum">
              <a:rPr lang="de-DE" smtClean="0"/>
              <a:pPr/>
              <a:t>‹#›</a:t>
            </a:fld>
            <a:endParaRPr lang="de-DE" dirty="0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7E8F0F58-69BB-6145-8AC0-538F9C3E5EF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16888" y="0"/>
            <a:ext cx="4076700" cy="137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76002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apite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880BFE37-58E9-495E-A195-6B3E849402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313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880BFE37-58E9-495E-A195-6B3E849402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FB40A68-0428-B646-9587-8006E8D0F2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4500" y="441324"/>
            <a:ext cx="6588398" cy="68341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8" name="Bildplatzhalter 16">
            <a:extLst>
              <a:ext uri="{FF2B5EF4-FFF2-40B4-BE49-F238E27FC236}">
                <a16:creationId xmlns:a16="http://schemas.microsoft.com/office/drawing/2014/main" id="{46818D88-8C36-A94F-BA6A-DD25E753FD4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13089" y="-8388"/>
            <a:ext cx="12215066" cy="6117227"/>
          </a:xfrm>
          <a:custGeom>
            <a:avLst/>
            <a:gdLst>
              <a:gd name="connsiteX0" fmla="*/ 0 w 12193588"/>
              <a:gd name="connsiteY0" fmla="*/ 0 h 6867728"/>
              <a:gd name="connsiteX1" fmla="*/ 11048944 w 12193588"/>
              <a:gd name="connsiteY1" fmla="*/ 0 h 6867728"/>
              <a:gd name="connsiteX2" fmla="*/ 12193588 w 12193588"/>
              <a:gd name="connsiteY2" fmla="*/ 1144644 h 6867728"/>
              <a:gd name="connsiteX3" fmla="*/ 12193588 w 12193588"/>
              <a:gd name="connsiteY3" fmla="*/ 6867728 h 6867728"/>
              <a:gd name="connsiteX4" fmla="*/ 0 w 12193588"/>
              <a:gd name="connsiteY4" fmla="*/ 6867728 h 6867728"/>
              <a:gd name="connsiteX5" fmla="*/ 0 w 12193588"/>
              <a:gd name="connsiteY5" fmla="*/ 0 h 6867728"/>
              <a:gd name="connsiteX0" fmla="*/ 0 w 12193588"/>
              <a:gd name="connsiteY0" fmla="*/ 1501629 h 6867728"/>
              <a:gd name="connsiteX1" fmla="*/ 11048944 w 12193588"/>
              <a:gd name="connsiteY1" fmla="*/ 0 h 6867728"/>
              <a:gd name="connsiteX2" fmla="*/ 12193588 w 12193588"/>
              <a:gd name="connsiteY2" fmla="*/ 1144644 h 6867728"/>
              <a:gd name="connsiteX3" fmla="*/ 12193588 w 12193588"/>
              <a:gd name="connsiteY3" fmla="*/ 6867728 h 6867728"/>
              <a:gd name="connsiteX4" fmla="*/ 0 w 12193588"/>
              <a:gd name="connsiteY4" fmla="*/ 6867728 h 6867728"/>
              <a:gd name="connsiteX5" fmla="*/ 0 w 12193588"/>
              <a:gd name="connsiteY5" fmla="*/ 1501629 h 6867728"/>
              <a:gd name="connsiteX0" fmla="*/ 0 w 12193588"/>
              <a:gd name="connsiteY0" fmla="*/ 360726 h 5726825"/>
              <a:gd name="connsiteX1" fmla="*/ 7450067 w 12193588"/>
              <a:gd name="connsiteY1" fmla="*/ 0 h 5726825"/>
              <a:gd name="connsiteX2" fmla="*/ 12193588 w 12193588"/>
              <a:gd name="connsiteY2" fmla="*/ 3741 h 5726825"/>
              <a:gd name="connsiteX3" fmla="*/ 12193588 w 12193588"/>
              <a:gd name="connsiteY3" fmla="*/ 5726825 h 5726825"/>
              <a:gd name="connsiteX4" fmla="*/ 0 w 12193588"/>
              <a:gd name="connsiteY4" fmla="*/ 5726825 h 5726825"/>
              <a:gd name="connsiteX5" fmla="*/ 0 w 12193588"/>
              <a:gd name="connsiteY5" fmla="*/ 360726 h 5726825"/>
              <a:gd name="connsiteX0" fmla="*/ 0 w 12193588"/>
              <a:gd name="connsiteY0" fmla="*/ 360726 h 5726825"/>
              <a:gd name="connsiteX1" fmla="*/ 7450067 w 12193588"/>
              <a:gd name="connsiteY1" fmla="*/ 0 h 5726825"/>
              <a:gd name="connsiteX2" fmla="*/ 10612073 w 12193588"/>
              <a:gd name="connsiteY2" fmla="*/ 7352 h 5726825"/>
              <a:gd name="connsiteX3" fmla="*/ 12193588 w 12193588"/>
              <a:gd name="connsiteY3" fmla="*/ 3741 h 5726825"/>
              <a:gd name="connsiteX4" fmla="*/ 12193588 w 12193588"/>
              <a:gd name="connsiteY4" fmla="*/ 5726825 h 5726825"/>
              <a:gd name="connsiteX5" fmla="*/ 0 w 12193588"/>
              <a:gd name="connsiteY5" fmla="*/ 5726825 h 5726825"/>
              <a:gd name="connsiteX6" fmla="*/ 0 w 12193588"/>
              <a:gd name="connsiteY6" fmla="*/ 360726 h 5726825"/>
              <a:gd name="connsiteX0" fmla="*/ 0 w 12193588"/>
              <a:gd name="connsiteY0" fmla="*/ 1519444 h 6885543"/>
              <a:gd name="connsiteX1" fmla="*/ 7450067 w 12193588"/>
              <a:gd name="connsiteY1" fmla="*/ 1158718 h 6885543"/>
              <a:gd name="connsiteX2" fmla="*/ 8036653 w 12193588"/>
              <a:gd name="connsiteY2" fmla="*/ 0 h 6885543"/>
              <a:gd name="connsiteX3" fmla="*/ 12193588 w 12193588"/>
              <a:gd name="connsiteY3" fmla="*/ 1162459 h 6885543"/>
              <a:gd name="connsiteX4" fmla="*/ 12193588 w 12193588"/>
              <a:gd name="connsiteY4" fmla="*/ 6885543 h 6885543"/>
              <a:gd name="connsiteX5" fmla="*/ 0 w 12193588"/>
              <a:gd name="connsiteY5" fmla="*/ 6885543 h 6885543"/>
              <a:gd name="connsiteX6" fmla="*/ 0 w 12193588"/>
              <a:gd name="connsiteY6" fmla="*/ 1519444 h 6885543"/>
              <a:gd name="connsiteX0" fmla="*/ 0 w 12201977"/>
              <a:gd name="connsiteY0" fmla="*/ 1519444 h 6885543"/>
              <a:gd name="connsiteX1" fmla="*/ 7450067 w 12201977"/>
              <a:gd name="connsiteY1" fmla="*/ 1158718 h 6885543"/>
              <a:gd name="connsiteX2" fmla="*/ 8036653 w 12201977"/>
              <a:gd name="connsiteY2" fmla="*/ 0 h 6885543"/>
              <a:gd name="connsiteX3" fmla="*/ 12201977 w 12201977"/>
              <a:gd name="connsiteY3" fmla="*/ 4778 h 6885543"/>
              <a:gd name="connsiteX4" fmla="*/ 12193588 w 12201977"/>
              <a:gd name="connsiteY4" fmla="*/ 6885543 h 6885543"/>
              <a:gd name="connsiteX5" fmla="*/ 0 w 12201977"/>
              <a:gd name="connsiteY5" fmla="*/ 6885543 h 6885543"/>
              <a:gd name="connsiteX6" fmla="*/ 0 w 12201977"/>
              <a:gd name="connsiteY6" fmla="*/ 1519444 h 6885543"/>
              <a:gd name="connsiteX0" fmla="*/ 0 w 12202784"/>
              <a:gd name="connsiteY0" fmla="*/ 1519444 h 6885543"/>
              <a:gd name="connsiteX1" fmla="*/ 7450067 w 12202784"/>
              <a:gd name="connsiteY1" fmla="*/ 1158718 h 6885543"/>
              <a:gd name="connsiteX2" fmla="*/ 8036653 w 12202784"/>
              <a:gd name="connsiteY2" fmla="*/ 0 h 6885543"/>
              <a:gd name="connsiteX3" fmla="*/ 12201977 w 12202784"/>
              <a:gd name="connsiteY3" fmla="*/ 4778 h 6885543"/>
              <a:gd name="connsiteX4" fmla="*/ 12201977 w 12202784"/>
              <a:gd name="connsiteY4" fmla="*/ 5895642 h 6885543"/>
              <a:gd name="connsiteX5" fmla="*/ 0 w 12202784"/>
              <a:gd name="connsiteY5" fmla="*/ 6885543 h 6885543"/>
              <a:gd name="connsiteX6" fmla="*/ 0 w 12202784"/>
              <a:gd name="connsiteY6" fmla="*/ 1519444 h 6885543"/>
              <a:gd name="connsiteX0" fmla="*/ 0 w 12202784"/>
              <a:gd name="connsiteY0" fmla="*/ 1519444 h 5895642"/>
              <a:gd name="connsiteX1" fmla="*/ 7450067 w 12202784"/>
              <a:gd name="connsiteY1" fmla="*/ 1158718 h 5895642"/>
              <a:gd name="connsiteX2" fmla="*/ 8036653 w 12202784"/>
              <a:gd name="connsiteY2" fmla="*/ 0 h 5895642"/>
              <a:gd name="connsiteX3" fmla="*/ 12201977 w 12202784"/>
              <a:gd name="connsiteY3" fmla="*/ 4778 h 5895642"/>
              <a:gd name="connsiteX4" fmla="*/ 12201977 w 12202784"/>
              <a:gd name="connsiteY4" fmla="*/ 5895642 h 5895642"/>
              <a:gd name="connsiteX5" fmla="*/ 0 w 12202784"/>
              <a:gd name="connsiteY5" fmla="*/ 5895642 h 5895642"/>
              <a:gd name="connsiteX6" fmla="*/ 0 w 12202784"/>
              <a:gd name="connsiteY6" fmla="*/ 1519444 h 5895642"/>
              <a:gd name="connsiteX0" fmla="*/ 0 w 12202784"/>
              <a:gd name="connsiteY0" fmla="*/ 1519444 h 5895642"/>
              <a:gd name="connsiteX1" fmla="*/ 7206786 w 12202784"/>
              <a:gd name="connsiteY1" fmla="*/ 1628501 h 5895642"/>
              <a:gd name="connsiteX2" fmla="*/ 8036653 w 12202784"/>
              <a:gd name="connsiteY2" fmla="*/ 0 h 5895642"/>
              <a:gd name="connsiteX3" fmla="*/ 12201977 w 12202784"/>
              <a:gd name="connsiteY3" fmla="*/ 4778 h 5895642"/>
              <a:gd name="connsiteX4" fmla="*/ 12201977 w 12202784"/>
              <a:gd name="connsiteY4" fmla="*/ 5895642 h 5895642"/>
              <a:gd name="connsiteX5" fmla="*/ 0 w 12202784"/>
              <a:gd name="connsiteY5" fmla="*/ 5895642 h 5895642"/>
              <a:gd name="connsiteX6" fmla="*/ 0 w 12202784"/>
              <a:gd name="connsiteY6" fmla="*/ 1519444 h 5895642"/>
              <a:gd name="connsiteX0" fmla="*/ 0 w 12202784"/>
              <a:gd name="connsiteY0" fmla="*/ 2123452 h 5895642"/>
              <a:gd name="connsiteX1" fmla="*/ 7206786 w 12202784"/>
              <a:gd name="connsiteY1" fmla="*/ 1628501 h 5895642"/>
              <a:gd name="connsiteX2" fmla="*/ 8036653 w 12202784"/>
              <a:gd name="connsiteY2" fmla="*/ 0 h 5895642"/>
              <a:gd name="connsiteX3" fmla="*/ 12201977 w 12202784"/>
              <a:gd name="connsiteY3" fmla="*/ 4778 h 5895642"/>
              <a:gd name="connsiteX4" fmla="*/ 12201977 w 12202784"/>
              <a:gd name="connsiteY4" fmla="*/ 5895642 h 5895642"/>
              <a:gd name="connsiteX5" fmla="*/ 0 w 12202784"/>
              <a:gd name="connsiteY5" fmla="*/ 5895642 h 5895642"/>
              <a:gd name="connsiteX6" fmla="*/ 0 w 12202784"/>
              <a:gd name="connsiteY6" fmla="*/ 2123452 h 5895642"/>
              <a:gd name="connsiteX0" fmla="*/ 0 w 12202784"/>
              <a:gd name="connsiteY0" fmla="*/ 2123452 h 5895642"/>
              <a:gd name="connsiteX1" fmla="*/ 7425447 w 12202784"/>
              <a:gd name="connsiteY1" fmla="*/ 2126329 h 5895642"/>
              <a:gd name="connsiteX2" fmla="*/ 8036653 w 12202784"/>
              <a:gd name="connsiteY2" fmla="*/ 0 h 5895642"/>
              <a:gd name="connsiteX3" fmla="*/ 12201977 w 12202784"/>
              <a:gd name="connsiteY3" fmla="*/ 4778 h 5895642"/>
              <a:gd name="connsiteX4" fmla="*/ 12201977 w 12202784"/>
              <a:gd name="connsiteY4" fmla="*/ 5895642 h 5895642"/>
              <a:gd name="connsiteX5" fmla="*/ 0 w 12202784"/>
              <a:gd name="connsiteY5" fmla="*/ 5895642 h 5895642"/>
              <a:gd name="connsiteX6" fmla="*/ 0 w 12202784"/>
              <a:gd name="connsiteY6" fmla="*/ 2123452 h 5895642"/>
              <a:gd name="connsiteX0" fmla="*/ 218661 w 12202784"/>
              <a:gd name="connsiteY0" fmla="*/ 2720845 h 5895642"/>
              <a:gd name="connsiteX1" fmla="*/ 7425447 w 12202784"/>
              <a:gd name="connsiteY1" fmla="*/ 2126329 h 5895642"/>
              <a:gd name="connsiteX2" fmla="*/ 8036653 w 12202784"/>
              <a:gd name="connsiteY2" fmla="*/ 0 h 5895642"/>
              <a:gd name="connsiteX3" fmla="*/ 12201977 w 12202784"/>
              <a:gd name="connsiteY3" fmla="*/ 4778 h 5895642"/>
              <a:gd name="connsiteX4" fmla="*/ 12201977 w 12202784"/>
              <a:gd name="connsiteY4" fmla="*/ 5895642 h 5895642"/>
              <a:gd name="connsiteX5" fmla="*/ 0 w 12202784"/>
              <a:gd name="connsiteY5" fmla="*/ 5895642 h 5895642"/>
              <a:gd name="connsiteX6" fmla="*/ 218661 w 12202784"/>
              <a:gd name="connsiteY6" fmla="*/ 2720845 h 5895642"/>
              <a:gd name="connsiteX0" fmla="*/ 0 w 12202784"/>
              <a:gd name="connsiteY0" fmla="*/ 2292713 h 5895642"/>
              <a:gd name="connsiteX1" fmla="*/ 7425447 w 12202784"/>
              <a:gd name="connsiteY1" fmla="*/ 2126329 h 5895642"/>
              <a:gd name="connsiteX2" fmla="*/ 8036653 w 12202784"/>
              <a:gd name="connsiteY2" fmla="*/ 0 h 5895642"/>
              <a:gd name="connsiteX3" fmla="*/ 12201977 w 12202784"/>
              <a:gd name="connsiteY3" fmla="*/ 4778 h 5895642"/>
              <a:gd name="connsiteX4" fmla="*/ 12201977 w 12202784"/>
              <a:gd name="connsiteY4" fmla="*/ 5895642 h 5895642"/>
              <a:gd name="connsiteX5" fmla="*/ 0 w 12202784"/>
              <a:gd name="connsiteY5" fmla="*/ 5895642 h 5895642"/>
              <a:gd name="connsiteX6" fmla="*/ 0 w 12202784"/>
              <a:gd name="connsiteY6" fmla="*/ 2292713 h 5895642"/>
              <a:gd name="connsiteX0" fmla="*/ 0 w 12202784"/>
              <a:gd name="connsiteY0" fmla="*/ 2292713 h 5895642"/>
              <a:gd name="connsiteX1" fmla="*/ 9522603 w 12202784"/>
              <a:gd name="connsiteY1" fmla="*/ 2395157 h 5895642"/>
              <a:gd name="connsiteX2" fmla="*/ 8036653 w 12202784"/>
              <a:gd name="connsiteY2" fmla="*/ 0 h 5895642"/>
              <a:gd name="connsiteX3" fmla="*/ 12201977 w 12202784"/>
              <a:gd name="connsiteY3" fmla="*/ 4778 h 5895642"/>
              <a:gd name="connsiteX4" fmla="*/ 12201977 w 12202784"/>
              <a:gd name="connsiteY4" fmla="*/ 5895642 h 5895642"/>
              <a:gd name="connsiteX5" fmla="*/ 0 w 12202784"/>
              <a:gd name="connsiteY5" fmla="*/ 5895642 h 5895642"/>
              <a:gd name="connsiteX6" fmla="*/ 0 w 12202784"/>
              <a:gd name="connsiteY6" fmla="*/ 2292713 h 5895642"/>
              <a:gd name="connsiteX0" fmla="*/ 0 w 12202784"/>
              <a:gd name="connsiteY0" fmla="*/ 2292713 h 5895642"/>
              <a:gd name="connsiteX1" fmla="*/ 7296237 w 12202784"/>
              <a:gd name="connsiteY1" fmla="*/ 1728066 h 5895642"/>
              <a:gd name="connsiteX2" fmla="*/ 8036653 w 12202784"/>
              <a:gd name="connsiteY2" fmla="*/ 0 h 5895642"/>
              <a:gd name="connsiteX3" fmla="*/ 12201977 w 12202784"/>
              <a:gd name="connsiteY3" fmla="*/ 4778 h 5895642"/>
              <a:gd name="connsiteX4" fmla="*/ 12201977 w 12202784"/>
              <a:gd name="connsiteY4" fmla="*/ 5895642 h 5895642"/>
              <a:gd name="connsiteX5" fmla="*/ 0 w 12202784"/>
              <a:gd name="connsiteY5" fmla="*/ 5895642 h 5895642"/>
              <a:gd name="connsiteX6" fmla="*/ 0 w 12202784"/>
              <a:gd name="connsiteY6" fmla="*/ 2292713 h 5895642"/>
              <a:gd name="connsiteX0" fmla="*/ 0 w 12202784"/>
              <a:gd name="connsiteY0" fmla="*/ 2292713 h 5895642"/>
              <a:gd name="connsiteX1" fmla="*/ 7306177 w 12202784"/>
              <a:gd name="connsiteY1" fmla="*/ 1140629 h 5895642"/>
              <a:gd name="connsiteX2" fmla="*/ 8036653 w 12202784"/>
              <a:gd name="connsiteY2" fmla="*/ 0 h 5895642"/>
              <a:gd name="connsiteX3" fmla="*/ 12201977 w 12202784"/>
              <a:gd name="connsiteY3" fmla="*/ 4778 h 5895642"/>
              <a:gd name="connsiteX4" fmla="*/ 12201977 w 12202784"/>
              <a:gd name="connsiteY4" fmla="*/ 5895642 h 5895642"/>
              <a:gd name="connsiteX5" fmla="*/ 0 w 12202784"/>
              <a:gd name="connsiteY5" fmla="*/ 5895642 h 5895642"/>
              <a:gd name="connsiteX6" fmla="*/ 0 w 12202784"/>
              <a:gd name="connsiteY6" fmla="*/ 2292713 h 5895642"/>
              <a:gd name="connsiteX0" fmla="*/ 0 w 12202784"/>
              <a:gd name="connsiteY0" fmla="*/ 1774971 h 5895642"/>
              <a:gd name="connsiteX1" fmla="*/ 7306177 w 12202784"/>
              <a:gd name="connsiteY1" fmla="*/ 1140629 h 5895642"/>
              <a:gd name="connsiteX2" fmla="*/ 8036653 w 12202784"/>
              <a:gd name="connsiteY2" fmla="*/ 0 h 5895642"/>
              <a:gd name="connsiteX3" fmla="*/ 12201977 w 12202784"/>
              <a:gd name="connsiteY3" fmla="*/ 4778 h 5895642"/>
              <a:gd name="connsiteX4" fmla="*/ 12201977 w 12202784"/>
              <a:gd name="connsiteY4" fmla="*/ 5895642 h 5895642"/>
              <a:gd name="connsiteX5" fmla="*/ 0 w 12202784"/>
              <a:gd name="connsiteY5" fmla="*/ 5895642 h 5895642"/>
              <a:gd name="connsiteX6" fmla="*/ 0 w 12202784"/>
              <a:gd name="connsiteY6" fmla="*/ 1774971 h 5895642"/>
              <a:gd name="connsiteX0" fmla="*/ 0 w 12202784"/>
              <a:gd name="connsiteY0" fmla="*/ 1774971 h 5895642"/>
              <a:gd name="connsiteX1" fmla="*/ 7276360 w 12202784"/>
              <a:gd name="connsiteY1" fmla="*/ 1708154 h 5895642"/>
              <a:gd name="connsiteX2" fmla="*/ 8036653 w 12202784"/>
              <a:gd name="connsiteY2" fmla="*/ 0 h 5895642"/>
              <a:gd name="connsiteX3" fmla="*/ 12201977 w 12202784"/>
              <a:gd name="connsiteY3" fmla="*/ 4778 h 5895642"/>
              <a:gd name="connsiteX4" fmla="*/ 12201977 w 12202784"/>
              <a:gd name="connsiteY4" fmla="*/ 5895642 h 5895642"/>
              <a:gd name="connsiteX5" fmla="*/ 0 w 12202784"/>
              <a:gd name="connsiteY5" fmla="*/ 5895642 h 5895642"/>
              <a:gd name="connsiteX6" fmla="*/ 0 w 12202784"/>
              <a:gd name="connsiteY6" fmla="*/ 1774971 h 5895642"/>
              <a:gd name="connsiteX0" fmla="*/ 0 w 12202784"/>
              <a:gd name="connsiteY0" fmla="*/ 1774971 h 5895642"/>
              <a:gd name="connsiteX1" fmla="*/ 6988125 w 12202784"/>
              <a:gd name="connsiteY1" fmla="*/ 1548849 h 5895642"/>
              <a:gd name="connsiteX2" fmla="*/ 8036653 w 12202784"/>
              <a:gd name="connsiteY2" fmla="*/ 0 h 5895642"/>
              <a:gd name="connsiteX3" fmla="*/ 12201977 w 12202784"/>
              <a:gd name="connsiteY3" fmla="*/ 4778 h 5895642"/>
              <a:gd name="connsiteX4" fmla="*/ 12201977 w 12202784"/>
              <a:gd name="connsiteY4" fmla="*/ 5895642 h 5895642"/>
              <a:gd name="connsiteX5" fmla="*/ 0 w 12202784"/>
              <a:gd name="connsiteY5" fmla="*/ 5895642 h 5895642"/>
              <a:gd name="connsiteX6" fmla="*/ 0 w 12202784"/>
              <a:gd name="connsiteY6" fmla="*/ 1774971 h 5895642"/>
              <a:gd name="connsiteX0" fmla="*/ 278296 w 12202784"/>
              <a:gd name="connsiteY0" fmla="*/ 2491845 h 5895642"/>
              <a:gd name="connsiteX1" fmla="*/ 6988125 w 12202784"/>
              <a:gd name="connsiteY1" fmla="*/ 1548849 h 5895642"/>
              <a:gd name="connsiteX2" fmla="*/ 8036653 w 12202784"/>
              <a:gd name="connsiteY2" fmla="*/ 0 h 5895642"/>
              <a:gd name="connsiteX3" fmla="*/ 12201977 w 12202784"/>
              <a:gd name="connsiteY3" fmla="*/ 4778 h 5895642"/>
              <a:gd name="connsiteX4" fmla="*/ 12201977 w 12202784"/>
              <a:gd name="connsiteY4" fmla="*/ 5895642 h 5895642"/>
              <a:gd name="connsiteX5" fmla="*/ 0 w 12202784"/>
              <a:gd name="connsiteY5" fmla="*/ 5895642 h 5895642"/>
              <a:gd name="connsiteX6" fmla="*/ 278296 w 12202784"/>
              <a:gd name="connsiteY6" fmla="*/ 2491845 h 5895642"/>
              <a:gd name="connsiteX0" fmla="*/ 0 w 12202784"/>
              <a:gd name="connsiteY0" fmla="*/ 2282757 h 5895642"/>
              <a:gd name="connsiteX1" fmla="*/ 6988125 w 12202784"/>
              <a:gd name="connsiteY1" fmla="*/ 1548849 h 5895642"/>
              <a:gd name="connsiteX2" fmla="*/ 8036653 w 12202784"/>
              <a:gd name="connsiteY2" fmla="*/ 0 h 5895642"/>
              <a:gd name="connsiteX3" fmla="*/ 12201977 w 12202784"/>
              <a:gd name="connsiteY3" fmla="*/ 4778 h 5895642"/>
              <a:gd name="connsiteX4" fmla="*/ 12201977 w 12202784"/>
              <a:gd name="connsiteY4" fmla="*/ 5895642 h 5895642"/>
              <a:gd name="connsiteX5" fmla="*/ 0 w 12202784"/>
              <a:gd name="connsiteY5" fmla="*/ 5895642 h 5895642"/>
              <a:gd name="connsiteX6" fmla="*/ 0 w 12202784"/>
              <a:gd name="connsiteY6" fmla="*/ 2282757 h 5895642"/>
              <a:gd name="connsiteX0" fmla="*/ 0 w 12202784"/>
              <a:gd name="connsiteY0" fmla="*/ 2282757 h 6113306"/>
              <a:gd name="connsiteX1" fmla="*/ 6988125 w 12202784"/>
              <a:gd name="connsiteY1" fmla="*/ 1548849 h 6113306"/>
              <a:gd name="connsiteX2" fmla="*/ 8036653 w 12202784"/>
              <a:gd name="connsiteY2" fmla="*/ 0 h 6113306"/>
              <a:gd name="connsiteX3" fmla="*/ 12201977 w 12202784"/>
              <a:gd name="connsiteY3" fmla="*/ 4778 h 6113306"/>
              <a:gd name="connsiteX4" fmla="*/ 12201977 w 12202784"/>
              <a:gd name="connsiteY4" fmla="*/ 6113306 h 6113306"/>
              <a:gd name="connsiteX5" fmla="*/ 0 w 12202784"/>
              <a:gd name="connsiteY5" fmla="*/ 5895642 h 6113306"/>
              <a:gd name="connsiteX6" fmla="*/ 0 w 12202784"/>
              <a:gd name="connsiteY6" fmla="*/ 2282757 h 6113306"/>
              <a:gd name="connsiteX0" fmla="*/ 0 w 12202784"/>
              <a:gd name="connsiteY0" fmla="*/ 2282757 h 6113307"/>
              <a:gd name="connsiteX1" fmla="*/ 6988125 w 12202784"/>
              <a:gd name="connsiteY1" fmla="*/ 1548849 h 6113307"/>
              <a:gd name="connsiteX2" fmla="*/ 8036653 w 12202784"/>
              <a:gd name="connsiteY2" fmla="*/ 0 h 6113307"/>
              <a:gd name="connsiteX3" fmla="*/ 12201977 w 12202784"/>
              <a:gd name="connsiteY3" fmla="*/ 4778 h 6113307"/>
              <a:gd name="connsiteX4" fmla="*/ 12201977 w 12202784"/>
              <a:gd name="connsiteY4" fmla="*/ 6113306 h 6113307"/>
              <a:gd name="connsiteX5" fmla="*/ 18107 w 12202784"/>
              <a:gd name="connsiteY5" fmla="*/ 6113307 h 6113307"/>
              <a:gd name="connsiteX6" fmla="*/ 0 w 12202784"/>
              <a:gd name="connsiteY6" fmla="*/ 2282757 h 6113307"/>
              <a:gd name="connsiteX0" fmla="*/ 0 w 12202784"/>
              <a:gd name="connsiteY0" fmla="*/ 2282757 h 6113307"/>
              <a:gd name="connsiteX1" fmla="*/ 6988125 w 12202784"/>
              <a:gd name="connsiteY1" fmla="*/ 1548849 h 6113307"/>
              <a:gd name="connsiteX2" fmla="*/ 8036653 w 12202784"/>
              <a:gd name="connsiteY2" fmla="*/ 0 h 6113307"/>
              <a:gd name="connsiteX3" fmla="*/ 12201977 w 12202784"/>
              <a:gd name="connsiteY3" fmla="*/ 4778 h 6113307"/>
              <a:gd name="connsiteX4" fmla="*/ 12201977 w 12202784"/>
              <a:gd name="connsiteY4" fmla="*/ 6113306 h 6113307"/>
              <a:gd name="connsiteX5" fmla="*/ 18107 w 12202784"/>
              <a:gd name="connsiteY5" fmla="*/ 6113307 h 6113307"/>
              <a:gd name="connsiteX6" fmla="*/ 0 w 12202784"/>
              <a:gd name="connsiteY6" fmla="*/ 2282757 h 6113307"/>
              <a:gd name="connsiteX0" fmla="*/ 0 w 12201977"/>
              <a:gd name="connsiteY0" fmla="*/ 2282757 h 6113307"/>
              <a:gd name="connsiteX1" fmla="*/ 6988125 w 12201977"/>
              <a:gd name="connsiteY1" fmla="*/ 1548849 h 6113307"/>
              <a:gd name="connsiteX2" fmla="*/ 8036653 w 12201977"/>
              <a:gd name="connsiteY2" fmla="*/ 0 h 6113307"/>
              <a:gd name="connsiteX3" fmla="*/ 12201977 w 12201977"/>
              <a:gd name="connsiteY3" fmla="*/ 4778 h 6113307"/>
              <a:gd name="connsiteX4" fmla="*/ 12201977 w 12201977"/>
              <a:gd name="connsiteY4" fmla="*/ 6113306 h 6113307"/>
              <a:gd name="connsiteX5" fmla="*/ 18107 w 12201977"/>
              <a:gd name="connsiteY5" fmla="*/ 6113307 h 6113307"/>
              <a:gd name="connsiteX6" fmla="*/ 0 w 12201977"/>
              <a:gd name="connsiteY6" fmla="*/ 2282757 h 6113307"/>
              <a:gd name="connsiteX0" fmla="*/ 4279 w 12206256"/>
              <a:gd name="connsiteY0" fmla="*/ 2282757 h 6113307"/>
              <a:gd name="connsiteX1" fmla="*/ 6992404 w 12206256"/>
              <a:gd name="connsiteY1" fmla="*/ 1548849 h 6113307"/>
              <a:gd name="connsiteX2" fmla="*/ 8040932 w 12206256"/>
              <a:gd name="connsiteY2" fmla="*/ 0 h 6113307"/>
              <a:gd name="connsiteX3" fmla="*/ 12206256 w 12206256"/>
              <a:gd name="connsiteY3" fmla="*/ 4778 h 6113307"/>
              <a:gd name="connsiteX4" fmla="*/ 12206256 w 12206256"/>
              <a:gd name="connsiteY4" fmla="*/ 6113306 h 6113307"/>
              <a:gd name="connsiteX5" fmla="*/ 2764 w 12206256"/>
              <a:gd name="connsiteY5" fmla="*/ 6113307 h 6113307"/>
              <a:gd name="connsiteX6" fmla="*/ 4279 w 12206256"/>
              <a:gd name="connsiteY6" fmla="*/ 2282757 h 6113307"/>
              <a:gd name="connsiteX0" fmla="*/ 14898 w 12216875"/>
              <a:gd name="connsiteY0" fmla="*/ 2282757 h 6878577"/>
              <a:gd name="connsiteX1" fmla="*/ 7003023 w 12216875"/>
              <a:gd name="connsiteY1" fmla="*/ 1548849 h 6878577"/>
              <a:gd name="connsiteX2" fmla="*/ 8051551 w 12216875"/>
              <a:gd name="connsiteY2" fmla="*/ 0 h 6878577"/>
              <a:gd name="connsiteX3" fmla="*/ 12216875 w 12216875"/>
              <a:gd name="connsiteY3" fmla="*/ 4778 h 6878577"/>
              <a:gd name="connsiteX4" fmla="*/ 12216875 w 12216875"/>
              <a:gd name="connsiteY4" fmla="*/ 6113306 h 6878577"/>
              <a:gd name="connsiteX5" fmla="*/ 1809 w 12216875"/>
              <a:gd name="connsiteY5" fmla="*/ 6878577 h 6878577"/>
              <a:gd name="connsiteX6" fmla="*/ 14898 w 12216875"/>
              <a:gd name="connsiteY6" fmla="*/ 2282757 h 6878577"/>
              <a:gd name="connsiteX0" fmla="*/ 14898 w 12216875"/>
              <a:gd name="connsiteY0" fmla="*/ 2282757 h 6878577"/>
              <a:gd name="connsiteX1" fmla="*/ 7003023 w 12216875"/>
              <a:gd name="connsiteY1" fmla="*/ 1548849 h 6878577"/>
              <a:gd name="connsiteX2" fmla="*/ 8051551 w 12216875"/>
              <a:gd name="connsiteY2" fmla="*/ 0 h 6878577"/>
              <a:gd name="connsiteX3" fmla="*/ 12216875 w 12216875"/>
              <a:gd name="connsiteY3" fmla="*/ 4778 h 6878577"/>
              <a:gd name="connsiteX4" fmla="*/ 12205300 w 12216875"/>
              <a:gd name="connsiteY4" fmla="*/ 6878576 h 6878577"/>
              <a:gd name="connsiteX5" fmla="*/ 1809 w 12216875"/>
              <a:gd name="connsiteY5" fmla="*/ 6878577 h 6878577"/>
              <a:gd name="connsiteX6" fmla="*/ 14898 w 12216875"/>
              <a:gd name="connsiteY6" fmla="*/ 2282757 h 6878577"/>
              <a:gd name="connsiteX0" fmla="*/ 14898 w 12216875"/>
              <a:gd name="connsiteY0" fmla="*/ 2282757 h 6878577"/>
              <a:gd name="connsiteX1" fmla="*/ 7003023 w 12216875"/>
              <a:gd name="connsiteY1" fmla="*/ 1548849 h 6878577"/>
              <a:gd name="connsiteX2" fmla="*/ 8051551 w 12216875"/>
              <a:gd name="connsiteY2" fmla="*/ 0 h 6878577"/>
              <a:gd name="connsiteX3" fmla="*/ 12216875 w 12216875"/>
              <a:gd name="connsiteY3" fmla="*/ 4778 h 6878577"/>
              <a:gd name="connsiteX4" fmla="*/ 12205300 w 12216875"/>
              <a:gd name="connsiteY4" fmla="*/ 6878576 h 6878577"/>
              <a:gd name="connsiteX5" fmla="*/ 1809 w 12216875"/>
              <a:gd name="connsiteY5" fmla="*/ 6878577 h 6878577"/>
              <a:gd name="connsiteX6" fmla="*/ 14898 w 12216875"/>
              <a:gd name="connsiteY6" fmla="*/ 2282757 h 6878577"/>
              <a:gd name="connsiteX0" fmla="*/ 13089 w 12215066"/>
              <a:gd name="connsiteY0" fmla="*/ 2282757 h 6878577"/>
              <a:gd name="connsiteX1" fmla="*/ 7001214 w 12215066"/>
              <a:gd name="connsiteY1" fmla="*/ 1548849 h 6878577"/>
              <a:gd name="connsiteX2" fmla="*/ 8049742 w 12215066"/>
              <a:gd name="connsiteY2" fmla="*/ 0 h 6878577"/>
              <a:gd name="connsiteX3" fmla="*/ 12215066 w 12215066"/>
              <a:gd name="connsiteY3" fmla="*/ 4778 h 6878577"/>
              <a:gd name="connsiteX4" fmla="*/ 12203491 w 12215066"/>
              <a:gd name="connsiteY4" fmla="*/ 6878576 h 6878577"/>
              <a:gd name="connsiteX5" fmla="*/ 0 w 12215066"/>
              <a:gd name="connsiteY5" fmla="*/ 6878577 h 6878577"/>
              <a:gd name="connsiteX6" fmla="*/ 13089 w 12215066"/>
              <a:gd name="connsiteY6" fmla="*/ 2282757 h 6878577"/>
              <a:gd name="connsiteX0" fmla="*/ 13089 w 12215066"/>
              <a:gd name="connsiteY0" fmla="*/ 2282757 h 6878577"/>
              <a:gd name="connsiteX1" fmla="*/ 7407614 w 12215066"/>
              <a:gd name="connsiteY1" fmla="*/ 1536127 h 6878577"/>
              <a:gd name="connsiteX2" fmla="*/ 8049742 w 12215066"/>
              <a:gd name="connsiteY2" fmla="*/ 0 h 6878577"/>
              <a:gd name="connsiteX3" fmla="*/ 12215066 w 12215066"/>
              <a:gd name="connsiteY3" fmla="*/ 4778 h 6878577"/>
              <a:gd name="connsiteX4" fmla="*/ 12203491 w 12215066"/>
              <a:gd name="connsiteY4" fmla="*/ 6878576 h 6878577"/>
              <a:gd name="connsiteX5" fmla="*/ 0 w 12215066"/>
              <a:gd name="connsiteY5" fmla="*/ 6878577 h 6878577"/>
              <a:gd name="connsiteX6" fmla="*/ 13089 w 12215066"/>
              <a:gd name="connsiteY6" fmla="*/ 2282757 h 6878577"/>
              <a:gd name="connsiteX0" fmla="*/ 13089 w 12215066"/>
              <a:gd name="connsiteY0" fmla="*/ 1939255 h 6878577"/>
              <a:gd name="connsiteX1" fmla="*/ 7407614 w 12215066"/>
              <a:gd name="connsiteY1" fmla="*/ 1536127 h 6878577"/>
              <a:gd name="connsiteX2" fmla="*/ 8049742 w 12215066"/>
              <a:gd name="connsiteY2" fmla="*/ 0 h 6878577"/>
              <a:gd name="connsiteX3" fmla="*/ 12215066 w 12215066"/>
              <a:gd name="connsiteY3" fmla="*/ 4778 h 6878577"/>
              <a:gd name="connsiteX4" fmla="*/ 12203491 w 12215066"/>
              <a:gd name="connsiteY4" fmla="*/ 6878576 h 6878577"/>
              <a:gd name="connsiteX5" fmla="*/ 0 w 12215066"/>
              <a:gd name="connsiteY5" fmla="*/ 6878577 h 6878577"/>
              <a:gd name="connsiteX6" fmla="*/ 13089 w 12215066"/>
              <a:gd name="connsiteY6" fmla="*/ 1939255 h 6878577"/>
              <a:gd name="connsiteX0" fmla="*/ 13089 w 12215066"/>
              <a:gd name="connsiteY0" fmla="*/ 1939255 h 6878577"/>
              <a:gd name="connsiteX1" fmla="*/ 7407614 w 12215066"/>
              <a:gd name="connsiteY1" fmla="*/ 1536127 h 6878577"/>
              <a:gd name="connsiteX2" fmla="*/ 8049742 w 12215066"/>
              <a:gd name="connsiteY2" fmla="*/ 0 h 6878577"/>
              <a:gd name="connsiteX3" fmla="*/ 12215066 w 12215066"/>
              <a:gd name="connsiteY3" fmla="*/ 4778 h 6878577"/>
              <a:gd name="connsiteX4" fmla="*/ 12203491 w 12215066"/>
              <a:gd name="connsiteY4" fmla="*/ 6878576 h 6878577"/>
              <a:gd name="connsiteX5" fmla="*/ 0 w 12215066"/>
              <a:gd name="connsiteY5" fmla="*/ 6878577 h 6878577"/>
              <a:gd name="connsiteX6" fmla="*/ 13089 w 12215066"/>
              <a:gd name="connsiteY6" fmla="*/ 1939255 h 6878577"/>
              <a:gd name="connsiteX0" fmla="*/ 13089 w 12215066"/>
              <a:gd name="connsiteY0" fmla="*/ 1939255 h 6878577"/>
              <a:gd name="connsiteX1" fmla="*/ 7407614 w 12215066"/>
              <a:gd name="connsiteY1" fmla="*/ 1536127 h 6878577"/>
              <a:gd name="connsiteX2" fmla="*/ 8049742 w 12215066"/>
              <a:gd name="connsiteY2" fmla="*/ 0 h 6878577"/>
              <a:gd name="connsiteX3" fmla="*/ 12215066 w 12215066"/>
              <a:gd name="connsiteY3" fmla="*/ 4778 h 6878577"/>
              <a:gd name="connsiteX4" fmla="*/ 12203491 w 12215066"/>
              <a:gd name="connsiteY4" fmla="*/ 6878576 h 6878577"/>
              <a:gd name="connsiteX5" fmla="*/ 0 w 12215066"/>
              <a:gd name="connsiteY5" fmla="*/ 6878577 h 6878577"/>
              <a:gd name="connsiteX6" fmla="*/ 13089 w 12215066"/>
              <a:gd name="connsiteY6" fmla="*/ 1939255 h 6878577"/>
              <a:gd name="connsiteX0" fmla="*/ 13089 w 12215066"/>
              <a:gd name="connsiteY0" fmla="*/ 1939255 h 6878577"/>
              <a:gd name="connsiteX1" fmla="*/ 7407614 w 12215066"/>
              <a:gd name="connsiteY1" fmla="*/ 1536127 h 6878577"/>
              <a:gd name="connsiteX2" fmla="*/ 8049742 w 12215066"/>
              <a:gd name="connsiteY2" fmla="*/ 0 h 6878577"/>
              <a:gd name="connsiteX3" fmla="*/ 12215066 w 12215066"/>
              <a:gd name="connsiteY3" fmla="*/ 4778 h 6878577"/>
              <a:gd name="connsiteX4" fmla="*/ 12203491 w 12215066"/>
              <a:gd name="connsiteY4" fmla="*/ 6127961 h 6878577"/>
              <a:gd name="connsiteX5" fmla="*/ 0 w 12215066"/>
              <a:gd name="connsiteY5" fmla="*/ 6878577 h 6878577"/>
              <a:gd name="connsiteX6" fmla="*/ 13089 w 12215066"/>
              <a:gd name="connsiteY6" fmla="*/ 1939255 h 6878577"/>
              <a:gd name="connsiteX0" fmla="*/ 13089 w 12215066"/>
              <a:gd name="connsiteY0" fmla="*/ 1939255 h 6878577"/>
              <a:gd name="connsiteX1" fmla="*/ 7407614 w 12215066"/>
              <a:gd name="connsiteY1" fmla="*/ 1536127 h 6878577"/>
              <a:gd name="connsiteX2" fmla="*/ 8049742 w 12215066"/>
              <a:gd name="connsiteY2" fmla="*/ 0 h 6878577"/>
              <a:gd name="connsiteX3" fmla="*/ 12215066 w 12215066"/>
              <a:gd name="connsiteY3" fmla="*/ 4778 h 6878577"/>
              <a:gd name="connsiteX4" fmla="*/ 12203491 w 12215066"/>
              <a:gd name="connsiteY4" fmla="*/ 6127961 h 6878577"/>
              <a:gd name="connsiteX5" fmla="*/ 0 w 12215066"/>
              <a:gd name="connsiteY5" fmla="*/ 6878577 h 6878577"/>
              <a:gd name="connsiteX6" fmla="*/ 13089 w 12215066"/>
              <a:gd name="connsiteY6" fmla="*/ 1939255 h 6878577"/>
              <a:gd name="connsiteX0" fmla="*/ 13089 w 12215066"/>
              <a:gd name="connsiteY0" fmla="*/ 1939255 h 6127962"/>
              <a:gd name="connsiteX1" fmla="*/ 7407614 w 12215066"/>
              <a:gd name="connsiteY1" fmla="*/ 1536127 h 6127962"/>
              <a:gd name="connsiteX2" fmla="*/ 8049742 w 12215066"/>
              <a:gd name="connsiteY2" fmla="*/ 0 h 6127962"/>
              <a:gd name="connsiteX3" fmla="*/ 12215066 w 12215066"/>
              <a:gd name="connsiteY3" fmla="*/ 4778 h 6127962"/>
              <a:gd name="connsiteX4" fmla="*/ 12203491 w 12215066"/>
              <a:gd name="connsiteY4" fmla="*/ 6127961 h 6127962"/>
              <a:gd name="connsiteX5" fmla="*/ 0 w 12215066"/>
              <a:gd name="connsiteY5" fmla="*/ 6127962 h 6127962"/>
              <a:gd name="connsiteX6" fmla="*/ 13089 w 12215066"/>
              <a:gd name="connsiteY6" fmla="*/ 1939255 h 6127962"/>
              <a:gd name="connsiteX0" fmla="*/ 13089 w 12215066"/>
              <a:gd name="connsiteY0" fmla="*/ 1939255 h 6127962"/>
              <a:gd name="connsiteX1" fmla="*/ 7407614 w 12215066"/>
              <a:gd name="connsiteY1" fmla="*/ 1536127 h 6127962"/>
              <a:gd name="connsiteX2" fmla="*/ 8049742 w 12215066"/>
              <a:gd name="connsiteY2" fmla="*/ 0 h 6127962"/>
              <a:gd name="connsiteX3" fmla="*/ 12215066 w 12215066"/>
              <a:gd name="connsiteY3" fmla="*/ 4778 h 6127962"/>
              <a:gd name="connsiteX4" fmla="*/ 12203491 w 12215066"/>
              <a:gd name="connsiteY4" fmla="*/ 6127961 h 6127962"/>
              <a:gd name="connsiteX5" fmla="*/ 0 w 12215066"/>
              <a:gd name="connsiteY5" fmla="*/ 6127962 h 6127962"/>
              <a:gd name="connsiteX6" fmla="*/ 13089 w 12215066"/>
              <a:gd name="connsiteY6" fmla="*/ 1939255 h 6127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215066" h="6127962">
                <a:moveTo>
                  <a:pt x="13089" y="1939255"/>
                </a:moveTo>
                <a:lnTo>
                  <a:pt x="7407614" y="1536127"/>
                </a:lnTo>
                <a:lnTo>
                  <a:pt x="8049742" y="0"/>
                </a:lnTo>
                <a:lnTo>
                  <a:pt x="12215066" y="4778"/>
                </a:lnTo>
                <a:cubicBezTo>
                  <a:pt x="12212270" y="2298366"/>
                  <a:pt x="12209278" y="3066369"/>
                  <a:pt x="12203491" y="6127961"/>
                </a:cubicBezTo>
                <a:lnTo>
                  <a:pt x="0" y="6127962"/>
                </a:lnTo>
                <a:cubicBezTo>
                  <a:pt x="6544" y="4033608"/>
                  <a:pt x="6544" y="4408916"/>
                  <a:pt x="13089" y="1939255"/>
                </a:cubicBezTo>
                <a:close/>
              </a:path>
            </a:pathLst>
          </a:custGeom>
          <a:solidFill>
            <a:schemeClr val="bg2"/>
          </a:solid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5ADC187-0537-5B43-9401-012D4ECB51CB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F4E9C228-5419-4935-8FBE-9A948ADA1147}" type="datetime1">
              <a:rPr lang="de-DE" smtClean="0"/>
              <a:t>05.08.2020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7C34D74-18F2-3745-9B0C-A0E5EB8FECD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© TecAlliance GmbH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0432A86-80D1-A945-9B14-70C09F8334C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CE82B8A1-0CCE-4815-9668-383D7DE7D8B4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237803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Kapitel_vol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16">
            <a:extLst>
              <a:ext uri="{FF2B5EF4-FFF2-40B4-BE49-F238E27FC236}">
                <a16:creationId xmlns:a16="http://schemas.microsoft.com/office/drawing/2014/main" id="{8A4C0224-C3D2-DC45-91A2-344C4EFE7D8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13089" y="-8388"/>
            <a:ext cx="12215066" cy="6866527"/>
          </a:xfrm>
          <a:custGeom>
            <a:avLst/>
            <a:gdLst>
              <a:gd name="connsiteX0" fmla="*/ 0 w 12193588"/>
              <a:gd name="connsiteY0" fmla="*/ 0 h 6867728"/>
              <a:gd name="connsiteX1" fmla="*/ 11048944 w 12193588"/>
              <a:gd name="connsiteY1" fmla="*/ 0 h 6867728"/>
              <a:gd name="connsiteX2" fmla="*/ 12193588 w 12193588"/>
              <a:gd name="connsiteY2" fmla="*/ 1144644 h 6867728"/>
              <a:gd name="connsiteX3" fmla="*/ 12193588 w 12193588"/>
              <a:gd name="connsiteY3" fmla="*/ 6867728 h 6867728"/>
              <a:gd name="connsiteX4" fmla="*/ 0 w 12193588"/>
              <a:gd name="connsiteY4" fmla="*/ 6867728 h 6867728"/>
              <a:gd name="connsiteX5" fmla="*/ 0 w 12193588"/>
              <a:gd name="connsiteY5" fmla="*/ 0 h 6867728"/>
              <a:gd name="connsiteX0" fmla="*/ 0 w 12193588"/>
              <a:gd name="connsiteY0" fmla="*/ 1501629 h 6867728"/>
              <a:gd name="connsiteX1" fmla="*/ 11048944 w 12193588"/>
              <a:gd name="connsiteY1" fmla="*/ 0 h 6867728"/>
              <a:gd name="connsiteX2" fmla="*/ 12193588 w 12193588"/>
              <a:gd name="connsiteY2" fmla="*/ 1144644 h 6867728"/>
              <a:gd name="connsiteX3" fmla="*/ 12193588 w 12193588"/>
              <a:gd name="connsiteY3" fmla="*/ 6867728 h 6867728"/>
              <a:gd name="connsiteX4" fmla="*/ 0 w 12193588"/>
              <a:gd name="connsiteY4" fmla="*/ 6867728 h 6867728"/>
              <a:gd name="connsiteX5" fmla="*/ 0 w 12193588"/>
              <a:gd name="connsiteY5" fmla="*/ 1501629 h 6867728"/>
              <a:gd name="connsiteX0" fmla="*/ 0 w 12193588"/>
              <a:gd name="connsiteY0" fmla="*/ 360726 h 5726825"/>
              <a:gd name="connsiteX1" fmla="*/ 7450067 w 12193588"/>
              <a:gd name="connsiteY1" fmla="*/ 0 h 5726825"/>
              <a:gd name="connsiteX2" fmla="*/ 12193588 w 12193588"/>
              <a:gd name="connsiteY2" fmla="*/ 3741 h 5726825"/>
              <a:gd name="connsiteX3" fmla="*/ 12193588 w 12193588"/>
              <a:gd name="connsiteY3" fmla="*/ 5726825 h 5726825"/>
              <a:gd name="connsiteX4" fmla="*/ 0 w 12193588"/>
              <a:gd name="connsiteY4" fmla="*/ 5726825 h 5726825"/>
              <a:gd name="connsiteX5" fmla="*/ 0 w 12193588"/>
              <a:gd name="connsiteY5" fmla="*/ 360726 h 5726825"/>
              <a:gd name="connsiteX0" fmla="*/ 0 w 12193588"/>
              <a:gd name="connsiteY0" fmla="*/ 360726 h 5726825"/>
              <a:gd name="connsiteX1" fmla="*/ 7450067 w 12193588"/>
              <a:gd name="connsiteY1" fmla="*/ 0 h 5726825"/>
              <a:gd name="connsiteX2" fmla="*/ 10612073 w 12193588"/>
              <a:gd name="connsiteY2" fmla="*/ 7352 h 5726825"/>
              <a:gd name="connsiteX3" fmla="*/ 12193588 w 12193588"/>
              <a:gd name="connsiteY3" fmla="*/ 3741 h 5726825"/>
              <a:gd name="connsiteX4" fmla="*/ 12193588 w 12193588"/>
              <a:gd name="connsiteY4" fmla="*/ 5726825 h 5726825"/>
              <a:gd name="connsiteX5" fmla="*/ 0 w 12193588"/>
              <a:gd name="connsiteY5" fmla="*/ 5726825 h 5726825"/>
              <a:gd name="connsiteX6" fmla="*/ 0 w 12193588"/>
              <a:gd name="connsiteY6" fmla="*/ 360726 h 5726825"/>
              <a:gd name="connsiteX0" fmla="*/ 0 w 12193588"/>
              <a:gd name="connsiteY0" fmla="*/ 1519444 h 6885543"/>
              <a:gd name="connsiteX1" fmla="*/ 7450067 w 12193588"/>
              <a:gd name="connsiteY1" fmla="*/ 1158718 h 6885543"/>
              <a:gd name="connsiteX2" fmla="*/ 8036653 w 12193588"/>
              <a:gd name="connsiteY2" fmla="*/ 0 h 6885543"/>
              <a:gd name="connsiteX3" fmla="*/ 12193588 w 12193588"/>
              <a:gd name="connsiteY3" fmla="*/ 1162459 h 6885543"/>
              <a:gd name="connsiteX4" fmla="*/ 12193588 w 12193588"/>
              <a:gd name="connsiteY4" fmla="*/ 6885543 h 6885543"/>
              <a:gd name="connsiteX5" fmla="*/ 0 w 12193588"/>
              <a:gd name="connsiteY5" fmla="*/ 6885543 h 6885543"/>
              <a:gd name="connsiteX6" fmla="*/ 0 w 12193588"/>
              <a:gd name="connsiteY6" fmla="*/ 1519444 h 6885543"/>
              <a:gd name="connsiteX0" fmla="*/ 0 w 12201977"/>
              <a:gd name="connsiteY0" fmla="*/ 1519444 h 6885543"/>
              <a:gd name="connsiteX1" fmla="*/ 7450067 w 12201977"/>
              <a:gd name="connsiteY1" fmla="*/ 1158718 h 6885543"/>
              <a:gd name="connsiteX2" fmla="*/ 8036653 w 12201977"/>
              <a:gd name="connsiteY2" fmla="*/ 0 h 6885543"/>
              <a:gd name="connsiteX3" fmla="*/ 12201977 w 12201977"/>
              <a:gd name="connsiteY3" fmla="*/ 4778 h 6885543"/>
              <a:gd name="connsiteX4" fmla="*/ 12193588 w 12201977"/>
              <a:gd name="connsiteY4" fmla="*/ 6885543 h 6885543"/>
              <a:gd name="connsiteX5" fmla="*/ 0 w 12201977"/>
              <a:gd name="connsiteY5" fmla="*/ 6885543 h 6885543"/>
              <a:gd name="connsiteX6" fmla="*/ 0 w 12201977"/>
              <a:gd name="connsiteY6" fmla="*/ 1519444 h 6885543"/>
              <a:gd name="connsiteX0" fmla="*/ 0 w 12202784"/>
              <a:gd name="connsiteY0" fmla="*/ 1519444 h 6885543"/>
              <a:gd name="connsiteX1" fmla="*/ 7450067 w 12202784"/>
              <a:gd name="connsiteY1" fmla="*/ 1158718 h 6885543"/>
              <a:gd name="connsiteX2" fmla="*/ 8036653 w 12202784"/>
              <a:gd name="connsiteY2" fmla="*/ 0 h 6885543"/>
              <a:gd name="connsiteX3" fmla="*/ 12201977 w 12202784"/>
              <a:gd name="connsiteY3" fmla="*/ 4778 h 6885543"/>
              <a:gd name="connsiteX4" fmla="*/ 12201977 w 12202784"/>
              <a:gd name="connsiteY4" fmla="*/ 5895642 h 6885543"/>
              <a:gd name="connsiteX5" fmla="*/ 0 w 12202784"/>
              <a:gd name="connsiteY5" fmla="*/ 6885543 h 6885543"/>
              <a:gd name="connsiteX6" fmla="*/ 0 w 12202784"/>
              <a:gd name="connsiteY6" fmla="*/ 1519444 h 6885543"/>
              <a:gd name="connsiteX0" fmla="*/ 0 w 12202784"/>
              <a:gd name="connsiteY0" fmla="*/ 1519444 h 5895642"/>
              <a:gd name="connsiteX1" fmla="*/ 7450067 w 12202784"/>
              <a:gd name="connsiteY1" fmla="*/ 1158718 h 5895642"/>
              <a:gd name="connsiteX2" fmla="*/ 8036653 w 12202784"/>
              <a:gd name="connsiteY2" fmla="*/ 0 h 5895642"/>
              <a:gd name="connsiteX3" fmla="*/ 12201977 w 12202784"/>
              <a:gd name="connsiteY3" fmla="*/ 4778 h 5895642"/>
              <a:gd name="connsiteX4" fmla="*/ 12201977 w 12202784"/>
              <a:gd name="connsiteY4" fmla="*/ 5895642 h 5895642"/>
              <a:gd name="connsiteX5" fmla="*/ 0 w 12202784"/>
              <a:gd name="connsiteY5" fmla="*/ 5895642 h 5895642"/>
              <a:gd name="connsiteX6" fmla="*/ 0 w 12202784"/>
              <a:gd name="connsiteY6" fmla="*/ 1519444 h 5895642"/>
              <a:gd name="connsiteX0" fmla="*/ 0 w 12202784"/>
              <a:gd name="connsiteY0" fmla="*/ 1519444 h 5895642"/>
              <a:gd name="connsiteX1" fmla="*/ 7206786 w 12202784"/>
              <a:gd name="connsiteY1" fmla="*/ 1628501 h 5895642"/>
              <a:gd name="connsiteX2" fmla="*/ 8036653 w 12202784"/>
              <a:gd name="connsiteY2" fmla="*/ 0 h 5895642"/>
              <a:gd name="connsiteX3" fmla="*/ 12201977 w 12202784"/>
              <a:gd name="connsiteY3" fmla="*/ 4778 h 5895642"/>
              <a:gd name="connsiteX4" fmla="*/ 12201977 w 12202784"/>
              <a:gd name="connsiteY4" fmla="*/ 5895642 h 5895642"/>
              <a:gd name="connsiteX5" fmla="*/ 0 w 12202784"/>
              <a:gd name="connsiteY5" fmla="*/ 5895642 h 5895642"/>
              <a:gd name="connsiteX6" fmla="*/ 0 w 12202784"/>
              <a:gd name="connsiteY6" fmla="*/ 1519444 h 5895642"/>
              <a:gd name="connsiteX0" fmla="*/ 0 w 12202784"/>
              <a:gd name="connsiteY0" fmla="*/ 2123452 h 5895642"/>
              <a:gd name="connsiteX1" fmla="*/ 7206786 w 12202784"/>
              <a:gd name="connsiteY1" fmla="*/ 1628501 h 5895642"/>
              <a:gd name="connsiteX2" fmla="*/ 8036653 w 12202784"/>
              <a:gd name="connsiteY2" fmla="*/ 0 h 5895642"/>
              <a:gd name="connsiteX3" fmla="*/ 12201977 w 12202784"/>
              <a:gd name="connsiteY3" fmla="*/ 4778 h 5895642"/>
              <a:gd name="connsiteX4" fmla="*/ 12201977 w 12202784"/>
              <a:gd name="connsiteY4" fmla="*/ 5895642 h 5895642"/>
              <a:gd name="connsiteX5" fmla="*/ 0 w 12202784"/>
              <a:gd name="connsiteY5" fmla="*/ 5895642 h 5895642"/>
              <a:gd name="connsiteX6" fmla="*/ 0 w 12202784"/>
              <a:gd name="connsiteY6" fmla="*/ 2123452 h 5895642"/>
              <a:gd name="connsiteX0" fmla="*/ 0 w 12202784"/>
              <a:gd name="connsiteY0" fmla="*/ 2123452 h 5895642"/>
              <a:gd name="connsiteX1" fmla="*/ 7425447 w 12202784"/>
              <a:gd name="connsiteY1" fmla="*/ 2126329 h 5895642"/>
              <a:gd name="connsiteX2" fmla="*/ 8036653 w 12202784"/>
              <a:gd name="connsiteY2" fmla="*/ 0 h 5895642"/>
              <a:gd name="connsiteX3" fmla="*/ 12201977 w 12202784"/>
              <a:gd name="connsiteY3" fmla="*/ 4778 h 5895642"/>
              <a:gd name="connsiteX4" fmla="*/ 12201977 w 12202784"/>
              <a:gd name="connsiteY4" fmla="*/ 5895642 h 5895642"/>
              <a:gd name="connsiteX5" fmla="*/ 0 w 12202784"/>
              <a:gd name="connsiteY5" fmla="*/ 5895642 h 5895642"/>
              <a:gd name="connsiteX6" fmla="*/ 0 w 12202784"/>
              <a:gd name="connsiteY6" fmla="*/ 2123452 h 5895642"/>
              <a:gd name="connsiteX0" fmla="*/ 218661 w 12202784"/>
              <a:gd name="connsiteY0" fmla="*/ 2720845 h 5895642"/>
              <a:gd name="connsiteX1" fmla="*/ 7425447 w 12202784"/>
              <a:gd name="connsiteY1" fmla="*/ 2126329 h 5895642"/>
              <a:gd name="connsiteX2" fmla="*/ 8036653 w 12202784"/>
              <a:gd name="connsiteY2" fmla="*/ 0 h 5895642"/>
              <a:gd name="connsiteX3" fmla="*/ 12201977 w 12202784"/>
              <a:gd name="connsiteY3" fmla="*/ 4778 h 5895642"/>
              <a:gd name="connsiteX4" fmla="*/ 12201977 w 12202784"/>
              <a:gd name="connsiteY4" fmla="*/ 5895642 h 5895642"/>
              <a:gd name="connsiteX5" fmla="*/ 0 w 12202784"/>
              <a:gd name="connsiteY5" fmla="*/ 5895642 h 5895642"/>
              <a:gd name="connsiteX6" fmla="*/ 218661 w 12202784"/>
              <a:gd name="connsiteY6" fmla="*/ 2720845 h 5895642"/>
              <a:gd name="connsiteX0" fmla="*/ 0 w 12202784"/>
              <a:gd name="connsiteY0" fmla="*/ 2292713 h 5895642"/>
              <a:gd name="connsiteX1" fmla="*/ 7425447 w 12202784"/>
              <a:gd name="connsiteY1" fmla="*/ 2126329 h 5895642"/>
              <a:gd name="connsiteX2" fmla="*/ 8036653 w 12202784"/>
              <a:gd name="connsiteY2" fmla="*/ 0 h 5895642"/>
              <a:gd name="connsiteX3" fmla="*/ 12201977 w 12202784"/>
              <a:gd name="connsiteY3" fmla="*/ 4778 h 5895642"/>
              <a:gd name="connsiteX4" fmla="*/ 12201977 w 12202784"/>
              <a:gd name="connsiteY4" fmla="*/ 5895642 h 5895642"/>
              <a:gd name="connsiteX5" fmla="*/ 0 w 12202784"/>
              <a:gd name="connsiteY5" fmla="*/ 5895642 h 5895642"/>
              <a:gd name="connsiteX6" fmla="*/ 0 w 12202784"/>
              <a:gd name="connsiteY6" fmla="*/ 2292713 h 5895642"/>
              <a:gd name="connsiteX0" fmla="*/ 0 w 12202784"/>
              <a:gd name="connsiteY0" fmla="*/ 2292713 h 5895642"/>
              <a:gd name="connsiteX1" fmla="*/ 9522603 w 12202784"/>
              <a:gd name="connsiteY1" fmla="*/ 2395157 h 5895642"/>
              <a:gd name="connsiteX2" fmla="*/ 8036653 w 12202784"/>
              <a:gd name="connsiteY2" fmla="*/ 0 h 5895642"/>
              <a:gd name="connsiteX3" fmla="*/ 12201977 w 12202784"/>
              <a:gd name="connsiteY3" fmla="*/ 4778 h 5895642"/>
              <a:gd name="connsiteX4" fmla="*/ 12201977 w 12202784"/>
              <a:gd name="connsiteY4" fmla="*/ 5895642 h 5895642"/>
              <a:gd name="connsiteX5" fmla="*/ 0 w 12202784"/>
              <a:gd name="connsiteY5" fmla="*/ 5895642 h 5895642"/>
              <a:gd name="connsiteX6" fmla="*/ 0 w 12202784"/>
              <a:gd name="connsiteY6" fmla="*/ 2292713 h 5895642"/>
              <a:gd name="connsiteX0" fmla="*/ 0 w 12202784"/>
              <a:gd name="connsiteY0" fmla="*/ 2292713 h 5895642"/>
              <a:gd name="connsiteX1" fmla="*/ 7296237 w 12202784"/>
              <a:gd name="connsiteY1" fmla="*/ 1728066 h 5895642"/>
              <a:gd name="connsiteX2" fmla="*/ 8036653 w 12202784"/>
              <a:gd name="connsiteY2" fmla="*/ 0 h 5895642"/>
              <a:gd name="connsiteX3" fmla="*/ 12201977 w 12202784"/>
              <a:gd name="connsiteY3" fmla="*/ 4778 h 5895642"/>
              <a:gd name="connsiteX4" fmla="*/ 12201977 w 12202784"/>
              <a:gd name="connsiteY4" fmla="*/ 5895642 h 5895642"/>
              <a:gd name="connsiteX5" fmla="*/ 0 w 12202784"/>
              <a:gd name="connsiteY5" fmla="*/ 5895642 h 5895642"/>
              <a:gd name="connsiteX6" fmla="*/ 0 w 12202784"/>
              <a:gd name="connsiteY6" fmla="*/ 2292713 h 5895642"/>
              <a:gd name="connsiteX0" fmla="*/ 0 w 12202784"/>
              <a:gd name="connsiteY0" fmla="*/ 2292713 h 5895642"/>
              <a:gd name="connsiteX1" fmla="*/ 7306177 w 12202784"/>
              <a:gd name="connsiteY1" fmla="*/ 1140629 h 5895642"/>
              <a:gd name="connsiteX2" fmla="*/ 8036653 w 12202784"/>
              <a:gd name="connsiteY2" fmla="*/ 0 h 5895642"/>
              <a:gd name="connsiteX3" fmla="*/ 12201977 w 12202784"/>
              <a:gd name="connsiteY3" fmla="*/ 4778 h 5895642"/>
              <a:gd name="connsiteX4" fmla="*/ 12201977 w 12202784"/>
              <a:gd name="connsiteY4" fmla="*/ 5895642 h 5895642"/>
              <a:gd name="connsiteX5" fmla="*/ 0 w 12202784"/>
              <a:gd name="connsiteY5" fmla="*/ 5895642 h 5895642"/>
              <a:gd name="connsiteX6" fmla="*/ 0 w 12202784"/>
              <a:gd name="connsiteY6" fmla="*/ 2292713 h 5895642"/>
              <a:gd name="connsiteX0" fmla="*/ 0 w 12202784"/>
              <a:gd name="connsiteY0" fmla="*/ 1774971 h 5895642"/>
              <a:gd name="connsiteX1" fmla="*/ 7306177 w 12202784"/>
              <a:gd name="connsiteY1" fmla="*/ 1140629 h 5895642"/>
              <a:gd name="connsiteX2" fmla="*/ 8036653 w 12202784"/>
              <a:gd name="connsiteY2" fmla="*/ 0 h 5895642"/>
              <a:gd name="connsiteX3" fmla="*/ 12201977 w 12202784"/>
              <a:gd name="connsiteY3" fmla="*/ 4778 h 5895642"/>
              <a:gd name="connsiteX4" fmla="*/ 12201977 w 12202784"/>
              <a:gd name="connsiteY4" fmla="*/ 5895642 h 5895642"/>
              <a:gd name="connsiteX5" fmla="*/ 0 w 12202784"/>
              <a:gd name="connsiteY5" fmla="*/ 5895642 h 5895642"/>
              <a:gd name="connsiteX6" fmla="*/ 0 w 12202784"/>
              <a:gd name="connsiteY6" fmla="*/ 1774971 h 5895642"/>
              <a:gd name="connsiteX0" fmla="*/ 0 w 12202784"/>
              <a:gd name="connsiteY0" fmla="*/ 1774971 h 5895642"/>
              <a:gd name="connsiteX1" fmla="*/ 7276360 w 12202784"/>
              <a:gd name="connsiteY1" fmla="*/ 1708154 h 5895642"/>
              <a:gd name="connsiteX2" fmla="*/ 8036653 w 12202784"/>
              <a:gd name="connsiteY2" fmla="*/ 0 h 5895642"/>
              <a:gd name="connsiteX3" fmla="*/ 12201977 w 12202784"/>
              <a:gd name="connsiteY3" fmla="*/ 4778 h 5895642"/>
              <a:gd name="connsiteX4" fmla="*/ 12201977 w 12202784"/>
              <a:gd name="connsiteY4" fmla="*/ 5895642 h 5895642"/>
              <a:gd name="connsiteX5" fmla="*/ 0 w 12202784"/>
              <a:gd name="connsiteY5" fmla="*/ 5895642 h 5895642"/>
              <a:gd name="connsiteX6" fmla="*/ 0 w 12202784"/>
              <a:gd name="connsiteY6" fmla="*/ 1774971 h 5895642"/>
              <a:gd name="connsiteX0" fmla="*/ 0 w 12202784"/>
              <a:gd name="connsiteY0" fmla="*/ 1774971 h 5895642"/>
              <a:gd name="connsiteX1" fmla="*/ 6988125 w 12202784"/>
              <a:gd name="connsiteY1" fmla="*/ 1548849 h 5895642"/>
              <a:gd name="connsiteX2" fmla="*/ 8036653 w 12202784"/>
              <a:gd name="connsiteY2" fmla="*/ 0 h 5895642"/>
              <a:gd name="connsiteX3" fmla="*/ 12201977 w 12202784"/>
              <a:gd name="connsiteY3" fmla="*/ 4778 h 5895642"/>
              <a:gd name="connsiteX4" fmla="*/ 12201977 w 12202784"/>
              <a:gd name="connsiteY4" fmla="*/ 5895642 h 5895642"/>
              <a:gd name="connsiteX5" fmla="*/ 0 w 12202784"/>
              <a:gd name="connsiteY5" fmla="*/ 5895642 h 5895642"/>
              <a:gd name="connsiteX6" fmla="*/ 0 w 12202784"/>
              <a:gd name="connsiteY6" fmla="*/ 1774971 h 5895642"/>
              <a:gd name="connsiteX0" fmla="*/ 278296 w 12202784"/>
              <a:gd name="connsiteY0" fmla="*/ 2491845 h 5895642"/>
              <a:gd name="connsiteX1" fmla="*/ 6988125 w 12202784"/>
              <a:gd name="connsiteY1" fmla="*/ 1548849 h 5895642"/>
              <a:gd name="connsiteX2" fmla="*/ 8036653 w 12202784"/>
              <a:gd name="connsiteY2" fmla="*/ 0 h 5895642"/>
              <a:gd name="connsiteX3" fmla="*/ 12201977 w 12202784"/>
              <a:gd name="connsiteY3" fmla="*/ 4778 h 5895642"/>
              <a:gd name="connsiteX4" fmla="*/ 12201977 w 12202784"/>
              <a:gd name="connsiteY4" fmla="*/ 5895642 h 5895642"/>
              <a:gd name="connsiteX5" fmla="*/ 0 w 12202784"/>
              <a:gd name="connsiteY5" fmla="*/ 5895642 h 5895642"/>
              <a:gd name="connsiteX6" fmla="*/ 278296 w 12202784"/>
              <a:gd name="connsiteY6" fmla="*/ 2491845 h 5895642"/>
              <a:gd name="connsiteX0" fmla="*/ 0 w 12202784"/>
              <a:gd name="connsiteY0" fmla="*/ 2282757 h 5895642"/>
              <a:gd name="connsiteX1" fmla="*/ 6988125 w 12202784"/>
              <a:gd name="connsiteY1" fmla="*/ 1548849 h 5895642"/>
              <a:gd name="connsiteX2" fmla="*/ 8036653 w 12202784"/>
              <a:gd name="connsiteY2" fmla="*/ 0 h 5895642"/>
              <a:gd name="connsiteX3" fmla="*/ 12201977 w 12202784"/>
              <a:gd name="connsiteY3" fmla="*/ 4778 h 5895642"/>
              <a:gd name="connsiteX4" fmla="*/ 12201977 w 12202784"/>
              <a:gd name="connsiteY4" fmla="*/ 5895642 h 5895642"/>
              <a:gd name="connsiteX5" fmla="*/ 0 w 12202784"/>
              <a:gd name="connsiteY5" fmla="*/ 5895642 h 5895642"/>
              <a:gd name="connsiteX6" fmla="*/ 0 w 12202784"/>
              <a:gd name="connsiteY6" fmla="*/ 2282757 h 5895642"/>
              <a:gd name="connsiteX0" fmla="*/ 0 w 12202784"/>
              <a:gd name="connsiteY0" fmla="*/ 2282757 h 6113306"/>
              <a:gd name="connsiteX1" fmla="*/ 6988125 w 12202784"/>
              <a:gd name="connsiteY1" fmla="*/ 1548849 h 6113306"/>
              <a:gd name="connsiteX2" fmla="*/ 8036653 w 12202784"/>
              <a:gd name="connsiteY2" fmla="*/ 0 h 6113306"/>
              <a:gd name="connsiteX3" fmla="*/ 12201977 w 12202784"/>
              <a:gd name="connsiteY3" fmla="*/ 4778 h 6113306"/>
              <a:gd name="connsiteX4" fmla="*/ 12201977 w 12202784"/>
              <a:gd name="connsiteY4" fmla="*/ 6113306 h 6113306"/>
              <a:gd name="connsiteX5" fmla="*/ 0 w 12202784"/>
              <a:gd name="connsiteY5" fmla="*/ 5895642 h 6113306"/>
              <a:gd name="connsiteX6" fmla="*/ 0 w 12202784"/>
              <a:gd name="connsiteY6" fmla="*/ 2282757 h 6113306"/>
              <a:gd name="connsiteX0" fmla="*/ 0 w 12202784"/>
              <a:gd name="connsiteY0" fmla="*/ 2282757 h 6113307"/>
              <a:gd name="connsiteX1" fmla="*/ 6988125 w 12202784"/>
              <a:gd name="connsiteY1" fmla="*/ 1548849 h 6113307"/>
              <a:gd name="connsiteX2" fmla="*/ 8036653 w 12202784"/>
              <a:gd name="connsiteY2" fmla="*/ 0 h 6113307"/>
              <a:gd name="connsiteX3" fmla="*/ 12201977 w 12202784"/>
              <a:gd name="connsiteY3" fmla="*/ 4778 h 6113307"/>
              <a:gd name="connsiteX4" fmla="*/ 12201977 w 12202784"/>
              <a:gd name="connsiteY4" fmla="*/ 6113306 h 6113307"/>
              <a:gd name="connsiteX5" fmla="*/ 18107 w 12202784"/>
              <a:gd name="connsiteY5" fmla="*/ 6113307 h 6113307"/>
              <a:gd name="connsiteX6" fmla="*/ 0 w 12202784"/>
              <a:gd name="connsiteY6" fmla="*/ 2282757 h 6113307"/>
              <a:gd name="connsiteX0" fmla="*/ 0 w 12202784"/>
              <a:gd name="connsiteY0" fmla="*/ 2282757 h 6113307"/>
              <a:gd name="connsiteX1" fmla="*/ 6988125 w 12202784"/>
              <a:gd name="connsiteY1" fmla="*/ 1548849 h 6113307"/>
              <a:gd name="connsiteX2" fmla="*/ 8036653 w 12202784"/>
              <a:gd name="connsiteY2" fmla="*/ 0 h 6113307"/>
              <a:gd name="connsiteX3" fmla="*/ 12201977 w 12202784"/>
              <a:gd name="connsiteY3" fmla="*/ 4778 h 6113307"/>
              <a:gd name="connsiteX4" fmla="*/ 12201977 w 12202784"/>
              <a:gd name="connsiteY4" fmla="*/ 6113306 h 6113307"/>
              <a:gd name="connsiteX5" fmla="*/ 18107 w 12202784"/>
              <a:gd name="connsiteY5" fmla="*/ 6113307 h 6113307"/>
              <a:gd name="connsiteX6" fmla="*/ 0 w 12202784"/>
              <a:gd name="connsiteY6" fmla="*/ 2282757 h 6113307"/>
              <a:gd name="connsiteX0" fmla="*/ 0 w 12201977"/>
              <a:gd name="connsiteY0" fmla="*/ 2282757 h 6113307"/>
              <a:gd name="connsiteX1" fmla="*/ 6988125 w 12201977"/>
              <a:gd name="connsiteY1" fmla="*/ 1548849 h 6113307"/>
              <a:gd name="connsiteX2" fmla="*/ 8036653 w 12201977"/>
              <a:gd name="connsiteY2" fmla="*/ 0 h 6113307"/>
              <a:gd name="connsiteX3" fmla="*/ 12201977 w 12201977"/>
              <a:gd name="connsiteY3" fmla="*/ 4778 h 6113307"/>
              <a:gd name="connsiteX4" fmla="*/ 12201977 w 12201977"/>
              <a:gd name="connsiteY4" fmla="*/ 6113306 h 6113307"/>
              <a:gd name="connsiteX5" fmla="*/ 18107 w 12201977"/>
              <a:gd name="connsiteY5" fmla="*/ 6113307 h 6113307"/>
              <a:gd name="connsiteX6" fmla="*/ 0 w 12201977"/>
              <a:gd name="connsiteY6" fmla="*/ 2282757 h 6113307"/>
              <a:gd name="connsiteX0" fmla="*/ 4279 w 12206256"/>
              <a:gd name="connsiteY0" fmla="*/ 2282757 h 6113307"/>
              <a:gd name="connsiteX1" fmla="*/ 6992404 w 12206256"/>
              <a:gd name="connsiteY1" fmla="*/ 1548849 h 6113307"/>
              <a:gd name="connsiteX2" fmla="*/ 8040932 w 12206256"/>
              <a:gd name="connsiteY2" fmla="*/ 0 h 6113307"/>
              <a:gd name="connsiteX3" fmla="*/ 12206256 w 12206256"/>
              <a:gd name="connsiteY3" fmla="*/ 4778 h 6113307"/>
              <a:gd name="connsiteX4" fmla="*/ 12206256 w 12206256"/>
              <a:gd name="connsiteY4" fmla="*/ 6113306 h 6113307"/>
              <a:gd name="connsiteX5" fmla="*/ 2764 w 12206256"/>
              <a:gd name="connsiteY5" fmla="*/ 6113307 h 6113307"/>
              <a:gd name="connsiteX6" fmla="*/ 4279 w 12206256"/>
              <a:gd name="connsiteY6" fmla="*/ 2282757 h 6113307"/>
              <a:gd name="connsiteX0" fmla="*/ 14898 w 12216875"/>
              <a:gd name="connsiteY0" fmla="*/ 2282757 h 6878577"/>
              <a:gd name="connsiteX1" fmla="*/ 7003023 w 12216875"/>
              <a:gd name="connsiteY1" fmla="*/ 1548849 h 6878577"/>
              <a:gd name="connsiteX2" fmla="*/ 8051551 w 12216875"/>
              <a:gd name="connsiteY2" fmla="*/ 0 h 6878577"/>
              <a:gd name="connsiteX3" fmla="*/ 12216875 w 12216875"/>
              <a:gd name="connsiteY3" fmla="*/ 4778 h 6878577"/>
              <a:gd name="connsiteX4" fmla="*/ 12216875 w 12216875"/>
              <a:gd name="connsiteY4" fmla="*/ 6113306 h 6878577"/>
              <a:gd name="connsiteX5" fmla="*/ 1809 w 12216875"/>
              <a:gd name="connsiteY5" fmla="*/ 6878577 h 6878577"/>
              <a:gd name="connsiteX6" fmla="*/ 14898 w 12216875"/>
              <a:gd name="connsiteY6" fmla="*/ 2282757 h 6878577"/>
              <a:gd name="connsiteX0" fmla="*/ 14898 w 12216875"/>
              <a:gd name="connsiteY0" fmla="*/ 2282757 h 6878577"/>
              <a:gd name="connsiteX1" fmla="*/ 7003023 w 12216875"/>
              <a:gd name="connsiteY1" fmla="*/ 1548849 h 6878577"/>
              <a:gd name="connsiteX2" fmla="*/ 8051551 w 12216875"/>
              <a:gd name="connsiteY2" fmla="*/ 0 h 6878577"/>
              <a:gd name="connsiteX3" fmla="*/ 12216875 w 12216875"/>
              <a:gd name="connsiteY3" fmla="*/ 4778 h 6878577"/>
              <a:gd name="connsiteX4" fmla="*/ 12205300 w 12216875"/>
              <a:gd name="connsiteY4" fmla="*/ 6878576 h 6878577"/>
              <a:gd name="connsiteX5" fmla="*/ 1809 w 12216875"/>
              <a:gd name="connsiteY5" fmla="*/ 6878577 h 6878577"/>
              <a:gd name="connsiteX6" fmla="*/ 14898 w 12216875"/>
              <a:gd name="connsiteY6" fmla="*/ 2282757 h 6878577"/>
              <a:gd name="connsiteX0" fmla="*/ 14898 w 12216875"/>
              <a:gd name="connsiteY0" fmla="*/ 2282757 h 6878577"/>
              <a:gd name="connsiteX1" fmla="*/ 7003023 w 12216875"/>
              <a:gd name="connsiteY1" fmla="*/ 1548849 h 6878577"/>
              <a:gd name="connsiteX2" fmla="*/ 8051551 w 12216875"/>
              <a:gd name="connsiteY2" fmla="*/ 0 h 6878577"/>
              <a:gd name="connsiteX3" fmla="*/ 12216875 w 12216875"/>
              <a:gd name="connsiteY3" fmla="*/ 4778 h 6878577"/>
              <a:gd name="connsiteX4" fmla="*/ 12205300 w 12216875"/>
              <a:gd name="connsiteY4" fmla="*/ 6878576 h 6878577"/>
              <a:gd name="connsiteX5" fmla="*/ 1809 w 12216875"/>
              <a:gd name="connsiteY5" fmla="*/ 6878577 h 6878577"/>
              <a:gd name="connsiteX6" fmla="*/ 14898 w 12216875"/>
              <a:gd name="connsiteY6" fmla="*/ 2282757 h 6878577"/>
              <a:gd name="connsiteX0" fmla="*/ 13089 w 12215066"/>
              <a:gd name="connsiteY0" fmla="*/ 2282757 h 6878577"/>
              <a:gd name="connsiteX1" fmla="*/ 7001214 w 12215066"/>
              <a:gd name="connsiteY1" fmla="*/ 1548849 h 6878577"/>
              <a:gd name="connsiteX2" fmla="*/ 8049742 w 12215066"/>
              <a:gd name="connsiteY2" fmla="*/ 0 h 6878577"/>
              <a:gd name="connsiteX3" fmla="*/ 12215066 w 12215066"/>
              <a:gd name="connsiteY3" fmla="*/ 4778 h 6878577"/>
              <a:gd name="connsiteX4" fmla="*/ 12203491 w 12215066"/>
              <a:gd name="connsiteY4" fmla="*/ 6878576 h 6878577"/>
              <a:gd name="connsiteX5" fmla="*/ 0 w 12215066"/>
              <a:gd name="connsiteY5" fmla="*/ 6878577 h 6878577"/>
              <a:gd name="connsiteX6" fmla="*/ 13089 w 12215066"/>
              <a:gd name="connsiteY6" fmla="*/ 2282757 h 6878577"/>
              <a:gd name="connsiteX0" fmla="*/ 13089 w 12215066"/>
              <a:gd name="connsiteY0" fmla="*/ 2282757 h 6878577"/>
              <a:gd name="connsiteX1" fmla="*/ 7407614 w 12215066"/>
              <a:gd name="connsiteY1" fmla="*/ 1536127 h 6878577"/>
              <a:gd name="connsiteX2" fmla="*/ 8049742 w 12215066"/>
              <a:gd name="connsiteY2" fmla="*/ 0 h 6878577"/>
              <a:gd name="connsiteX3" fmla="*/ 12215066 w 12215066"/>
              <a:gd name="connsiteY3" fmla="*/ 4778 h 6878577"/>
              <a:gd name="connsiteX4" fmla="*/ 12203491 w 12215066"/>
              <a:gd name="connsiteY4" fmla="*/ 6878576 h 6878577"/>
              <a:gd name="connsiteX5" fmla="*/ 0 w 12215066"/>
              <a:gd name="connsiteY5" fmla="*/ 6878577 h 6878577"/>
              <a:gd name="connsiteX6" fmla="*/ 13089 w 12215066"/>
              <a:gd name="connsiteY6" fmla="*/ 2282757 h 6878577"/>
              <a:gd name="connsiteX0" fmla="*/ 13089 w 12215066"/>
              <a:gd name="connsiteY0" fmla="*/ 1939255 h 6878577"/>
              <a:gd name="connsiteX1" fmla="*/ 7407614 w 12215066"/>
              <a:gd name="connsiteY1" fmla="*/ 1536127 h 6878577"/>
              <a:gd name="connsiteX2" fmla="*/ 8049742 w 12215066"/>
              <a:gd name="connsiteY2" fmla="*/ 0 h 6878577"/>
              <a:gd name="connsiteX3" fmla="*/ 12215066 w 12215066"/>
              <a:gd name="connsiteY3" fmla="*/ 4778 h 6878577"/>
              <a:gd name="connsiteX4" fmla="*/ 12203491 w 12215066"/>
              <a:gd name="connsiteY4" fmla="*/ 6878576 h 6878577"/>
              <a:gd name="connsiteX5" fmla="*/ 0 w 12215066"/>
              <a:gd name="connsiteY5" fmla="*/ 6878577 h 6878577"/>
              <a:gd name="connsiteX6" fmla="*/ 13089 w 12215066"/>
              <a:gd name="connsiteY6" fmla="*/ 1939255 h 6878577"/>
              <a:gd name="connsiteX0" fmla="*/ 13089 w 12215066"/>
              <a:gd name="connsiteY0" fmla="*/ 1939255 h 6878577"/>
              <a:gd name="connsiteX1" fmla="*/ 7407614 w 12215066"/>
              <a:gd name="connsiteY1" fmla="*/ 1536127 h 6878577"/>
              <a:gd name="connsiteX2" fmla="*/ 8049742 w 12215066"/>
              <a:gd name="connsiteY2" fmla="*/ 0 h 6878577"/>
              <a:gd name="connsiteX3" fmla="*/ 12215066 w 12215066"/>
              <a:gd name="connsiteY3" fmla="*/ 4778 h 6878577"/>
              <a:gd name="connsiteX4" fmla="*/ 12203491 w 12215066"/>
              <a:gd name="connsiteY4" fmla="*/ 6878576 h 6878577"/>
              <a:gd name="connsiteX5" fmla="*/ 0 w 12215066"/>
              <a:gd name="connsiteY5" fmla="*/ 6878577 h 6878577"/>
              <a:gd name="connsiteX6" fmla="*/ 13089 w 12215066"/>
              <a:gd name="connsiteY6" fmla="*/ 1939255 h 6878577"/>
              <a:gd name="connsiteX0" fmla="*/ 13089 w 12215066"/>
              <a:gd name="connsiteY0" fmla="*/ 1939255 h 6878577"/>
              <a:gd name="connsiteX1" fmla="*/ 7407614 w 12215066"/>
              <a:gd name="connsiteY1" fmla="*/ 1536127 h 6878577"/>
              <a:gd name="connsiteX2" fmla="*/ 8049742 w 12215066"/>
              <a:gd name="connsiteY2" fmla="*/ 0 h 6878577"/>
              <a:gd name="connsiteX3" fmla="*/ 12215066 w 12215066"/>
              <a:gd name="connsiteY3" fmla="*/ 4778 h 6878577"/>
              <a:gd name="connsiteX4" fmla="*/ 12203491 w 12215066"/>
              <a:gd name="connsiteY4" fmla="*/ 6878576 h 6878577"/>
              <a:gd name="connsiteX5" fmla="*/ 0 w 12215066"/>
              <a:gd name="connsiteY5" fmla="*/ 6878577 h 6878577"/>
              <a:gd name="connsiteX6" fmla="*/ 13089 w 12215066"/>
              <a:gd name="connsiteY6" fmla="*/ 1939255 h 68785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215066" h="6878577">
                <a:moveTo>
                  <a:pt x="13089" y="1939255"/>
                </a:moveTo>
                <a:lnTo>
                  <a:pt x="7407614" y="1536127"/>
                </a:lnTo>
                <a:lnTo>
                  <a:pt x="8049742" y="0"/>
                </a:lnTo>
                <a:lnTo>
                  <a:pt x="12215066" y="4778"/>
                </a:lnTo>
                <a:cubicBezTo>
                  <a:pt x="12212270" y="2298366"/>
                  <a:pt x="12209278" y="3441677"/>
                  <a:pt x="12203491" y="6878576"/>
                </a:cubicBezTo>
                <a:lnTo>
                  <a:pt x="0" y="6878577"/>
                </a:lnTo>
                <a:cubicBezTo>
                  <a:pt x="6544" y="4580667"/>
                  <a:pt x="6544" y="4408916"/>
                  <a:pt x="13089" y="1939255"/>
                </a:cubicBezTo>
                <a:close/>
              </a:path>
            </a:pathLst>
          </a:custGeom>
          <a:solidFill>
            <a:schemeClr val="bg2"/>
          </a:solid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880BFE37-58E9-495E-A195-6B3E849402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3531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880BFE37-58E9-495E-A195-6B3E849402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9174A79C-E86A-EB40-8610-9B4AD98526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4500" y="441324"/>
            <a:ext cx="6516390" cy="68341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37525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3.xml"/><Relationship Id="rId30" Type="http://schemas.openxmlformats.org/officeDocument/2006/relationships/image" Target="../media/image2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41.xml"/><Relationship Id="rId3" Type="http://schemas.openxmlformats.org/officeDocument/2006/relationships/slideLayout" Target="../slideLayouts/slideLayout26.xml"/><Relationship Id="rId21" Type="http://schemas.openxmlformats.org/officeDocument/2006/relationships/tags" Target="../tags/tag22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5" Type="http://schemas.openxmlformats.org/officeDocument/2006/relationships/image" Target="../media/image2.emf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vmlDrawing" Target="../drawings/vmlDrawing20.v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33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Relationship Id="rId22" Type="http://schemas.openxmlformats.org/officeDocument/2006/relationships/tags" Target="../tags/tag2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image" Target="../media/image6.jpeg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12" Type="http://schemas.openxmlformats.org/officeDocument/2006/relationships/tags" Target="../tags/tag38.xml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tags" Target="../tags/tag37.xml"/><Relationship Id="rId5" Type="http://schemas.openxmlformats.org/officeDocument/2006/relationships/slideLayout" Target="../slideLayouts/slideLayout46.xml"/><Relationship Id="rId15" Type="http://schemas.openxmlformats.org/officeDocument/2006/relationships/image" Target="../media/image1.emf"/><Relationship Id="rId10" Type="http://schemas.openxmlformats.org/officeDocument/2006/relationships/vmlDrawing" Target="../drawings/vmlDrawing34.vml"/><Relationship Id="rId4" Type="http://schemas.openxmlformats.org/officeDocument/2006/relationships/slideLayout" Target="../slideLayouts/slideLayout45.xml"/><Relationship Id="rId9" Type="http://schemas.openxmlformats.org/officeDocument/2006/relationships/theme" Target="../theme/theme3.xml"/><Relationship Id="rId14" Type="http://schemas.openxmlformats.org/officeDocument/2006/relationships/oleObject" Target="../embeddings/oleObject1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vmlDrawing" Target="../drawings/vmlDrawing40.vml"/><Relationship Id="rId7" Type="http://schemas.openxmlformats.org/officeDocument/2006/relationships/image" Target="../media/image1.emf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50.xml"/><Relationship Id="rId6" Type="http://schemas.openxmlformats.org/officeDocument/2006/relationships/oleObject" Target="../embeddings/oleObject1.bin"/><Relationship Id="rId5" Type="http://schemas.openxmlformats.org/officeDocument/2006/relationships/tags" Target="../tags/tag45.xml"/><Relationship Id="rId4" Type="http://schemas.openxmlformats.org/officeDocument/2006/relationships/tags" Target="../tags/tag4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CC71F77F-F1D8-4F20-ADA8-4C3C1B00BD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7661" name="think-cell Folie" r:id="rId28" imgW="306" imgH="306" progId="TCLayout.ActiveDocument.1">
                  <p:embed/>
                </p:oleObj>
              </mc:Choice>
              <mc:Fallback>
                <p:oleObj name="think-cell Folie" r:id="rId28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CC71F77F-F1D8-4F20-ADA8-4C3C1B00BD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" name="Freihandform: Form 58">
            <a:extLst>
              <a:ext uri="{FF2B5EF4-FFF2-40B4-BE49-F238E27FC236}">
                <a16:creationId xmlns:a16="http://schemas.microsoft.com/office/drawing/2014/main" id="{0E65FE95-DBDA-456A-953F-F252A00B77CF}"/>
              </a:ext>
            </a:extLst>
          </p:cNvPr>
          <p:cNvSpPr/>
          <p:nvPr userDrawn="1"/>
        </p:nvSpPr>
        <p:spPr>
          <a:xfrm>
            <a:off x="12193201" y="5751248"/>
            <a:ext cx="389" cy="1106753"/>
          </a:xfrm>
          <a:custGeom>
            <a:avLst/>
            <a:gdLst>
              <a:gd name="connsiteX0" fmla="*/ 0 w 389"/>
              <a:gd name="connsiteY0" fmla="*/ 0 h 1106753"/>
              <a:gd name="connsiteX1" fmla="*/ 388 w 389"/>
              <a:gd name="connsiteY1" fmla="*/ 80 h 1106753"/>
              <a:gd name="connsiteX2" fmla="*/ 388 w 389"/>
              <a:gd name="connsiteY2" fmla="*/ 80 h 1106753"/>
              <a:gd name="connsiteX3" fmla="*/ 389 w 389"/>
              <a:gd name="connsiteY3" fmla="*/ 80 h 1106753"/>
              <a:gd name="connsiteX4" fmla="*/ 389 w 389"/>
              <a:gd name="connsiteY4" fmla="*/ 1106753 h 1106753"/>
              <a:gd name="connsiteX5" fmla="*/ 0 w 389"/>
              <a:gd name="connsiteY5" fmla="*/ 1106753 h 1106753"/>
              <a:gd name="connsiteX6" fmla="*/ 0 w 389"/>
              <a:gd name="connsiteY6" fmla="*/ 0 h 11067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89" h="1106753">
                <a:moveTo>
                  <a:pt x="0" y="0"/>
                </a:moveTo>
                <a:lnTo>
                  <a:pt x="388" y="80"/>
                </a:lnTo>
                <a:lnTo>
                  <a:pt x="388" y="80"/>
                </a:lnTo>
                <a:lnTo>
                  <a:pt x="389" y="80"/>
                </a:lnTo>
                <a:lnTo>
                  <a:pt x="389" y="1106753"/>
                </a:lnTo>
                <a:lnTo>
                  <a:pt x="0" y="1106753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alpha val="21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t">
            <a:noAutofit/>
          </a:bodyPr>
          <a:lstStyle/>
          <a:p>
            <a:pPr algn="l"/>
            <a:endParaRPr lang="de-DE" sz="1400" dirty="0">
              <a:solidFill>
                <a:schemeClr val="accent1"/>
              </a:solidFill>
            </a:endParaRPr>
          </a:p>
        </p:txBody>
      </p:sp>
      <p:sp>
        <p:nvSpPr>
          <p:cNvPr id="2" name="Titelplatzhalter 1"/>
          <p:cNvSpPr>
            <a:spLocks noGrp="1"/>
          </p:cNvSpPr>
          <p:nvPr userDrawn="1">
            <p:ph type="title"/>
          </p:nvPr>
        </p:nvSpPr>
        <p:spPr>
          <a:xfrm>
            <a:off x="444500" y="441324"/>
            <a:ext cx="11340926" cy="68341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 userDrawn="1">
            <p:ph type="dt" sz="half" idx="2"/>
          </p:nvPr>
        </p:nvSpPr>
        <p:spPr>
          <a:xfrm>
            <a:off x="10759362" y="6449039"/>
            <a:ext cx="648000" cy="14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tx1"/>
                </a:solidFill>
              </a:defRPr>
            </a:lvl1pPr>
            <a:lvl2pPr marL="0" indent="0">
              <a:defRPr sz="900">
                <a:solidFill>
                  <a:schemeClr val="tx2">
                    <a:lumMod val="20000"/>
                    <a:lumOff val="80000"/>
                  </a:schemeClr>
                </a:solidFill>
              </a:defRPr>
            </a:lvl2pPr>
            <a:lvl3pPr marL="0" indent="0">
              <a:defRPr sz="900">
                <a:solidFill>
                  <a:schemeClr val="tx2">
                    <a:lumMod val="20000"/>
                    <a:lumOff val="80000"/>
                  </a:schemeClr>
                </a:solidFill>
              </a:defRPr>
            </a:lvl3pPr>
            <a:lvl4pPr marL="0" indent="0">
              <a:defRPr sz="900">
                <a:solidFill>
                  <a:schemeClr val="tx2">
                    <a:lumMod val="20000"/>
                    <a:lumOff val="80000"/>
                  </a:schemeClr>
                </a:solidFill>
              </a:defRPr>
            </a:lvl4pPr>
            <a:lvl5pPr marL="0" indent="0">
              <a:defRPr sz="900">
                <a:solidFill>
                  <a:schemeClr val="tx2">
                    <a:lumMod val="20000"/>
                    <a:lumOff val="80000"/>
                  </a:schemeClr>
                </a:solidFill>
              </a:defRPr>
            </a:lvl5pPr>
            <a:lvl6pPr marL="0" indent="0">
              <a:defRPr sz="900">
                <a:solidFill>
                  <a:schemeClr val="tx2">
                    <a:lumMod val="20000"/>
                    <a:lumOff val="80000"/>
                  </a:schemeClr>
                </a:solidFill>
              </a:defRPr>
            </a:lvl6pPr>
            <a:lvl7pPr marL="0" indent="0">
              <a:defRPr sz="900">
                <a:solidFill>
                  <a:schemeClr val="tx2">
                    <a:lumMod val="20000"/>
                    <a:lumOff val="80000"/>
                  </a:schemeClr>
                </a:solidFill>
              </a:defRPr>
            </a:lvl7pPr>
            <a:lvl8pPr marL="0" indent="0">
              <a:defRPr sz="900">
                <a:solidFill>
                  <a:schemeClr val="tx2">
                    <a:lumMod val="20000"/>
                    <a:lumOff val="80000"/>
                  </a:schemeClr>
                </a:solidFill>
              </a:defRPr>
            </a:lvl8pPr>
            <a:lvl9pPr marL="0" indent="0">
              <a:defRPr sz="900">
                <a:solidFill>
                  <a:schemeClr val="tx2">
                    <a:lumMod val="20000"/>
                    <a:lumOff val="80000"/>
                  </a:schemeClr>
                </a:solidFill>
              </a:defRPr>
            </a:lvl9pPr>
          </a:lstStyle>
          <a:p>
            <a:fld id="{2A85C7F5-E61E-4ABE-8C21-EA85E658DB90}" type="datetime1">
              <a:rPr lang="de-DE" smtClean="0"/>
              <a:t>05.08.2020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3"/>
          </p:nvPr>
        </p:nvSpPr>
        <p:spPr>
          <a:xfrm>
            <a:off x="2641298" y="6448943"/>
            <a:ext cx="7992000" cy="144096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 algn="r">
              <a:defRPr sz="900">
                <a:solidFill>
                  <a:schemeClr val="tx1"/>
                </a:solidFill>
              </a:defRPr>
            </a:lvl1pPr>
            <a:lvl2pPr marL="0" indent="0">
              <a:defRPr sz="900">
                <a:solidFill>
                  <a:schemeClr val="tx2">
                    <a:lumMod val="20000"/>
                    <a:lumOff val="80000"/>
                  </a:schemeClr>
                </a:solidFill>
              </a:defRPr>
            </a:lvl2pPr>
            <a:lvl3pPr marL="0" indent="0">
              <a:defRPr sz="900">
                <a:solidFill>
                  <a:schemeClr val="tx2">
                    <a:lumMod val="20000"/>
                    <a:lumOff val="80000"/>
                  </a:schemeClr>
                </a:solidFill>
              </a:defRPr>
            </a:lvl3pPr>
            <a:lvl4pPr marL="0" indent="0">
              <a:defRPr sz="900">
                <a:solidFill>
                  <a:schemeClr val="tx2">
                    <a:lumMod val="20000"/>
                    <a:lumOff val="80000"/>
                  </a:schemeClr>
                </a:solidFill>
              </a:defRPr>
            </a:lvl4pPr>
            <a:lvl5pPr marL="0" indent="0">
              <a:defRPr sz="900">
                <a:solidFill>
                  <a:schemeClr val="tx2">
                    <a:lumMod val="20000"/>
                    <a:lumOff val="80000"/>
                  </a:schemeClr>
                </a:solidFill>
              </a:defRPr>
            </a:lvl5pPr>
            <a:lvl6pPr marL="0" indent="0">
              <a:defRPr sz="900">
                <a:solidFill>
                  <a:schemeClr val="tx2">
                    <a:lumMod val="20000"/>
                    <a:lumOff val="80000"/>
                  </a:schemeClr>
                </a:solidFill>
              </a:defRPr>
            </a:lvl6pPr>
            <a:lvl7pPr marL="0" indent="0">
              <a:defRPr sz="900">
                <a:solidFill>
                  <a:schemeClr val="tx2">
                    <a:lumMod val="20000"/>
                    <a:lumOff val="80000"/>
                  </a:schemeClr>
                </a:solidFill>
              </a:defRPr>
            </a:lvl7pPr>
            <a:lvl8pPr marL="0" indent="0">
              <a:defRPr sz="900">
                <a:solidFill>
                  <a:schemeClr val="tx2">
                    <a:lumMod val="20000"/>
                    <a:lumOff val="80000"/>
                  </a:schemeClr>
                </a:solidFill>
              </a:defRPr>
            </a:lvl8pPr>
            <a:lvl9pPr marL="0" indent="0">
              <a:defRPr sz="900">
                <a:solidFill>
                  <a:schemeClr val="tx2">
                    <a:lumMod val="20000"/>
                    <a:lumOff val="80000"/>
                  </a:schemeClr>
                </a:solidFill>
              </a:defRPr>
            </a:lvl9pPr>
          </a:lstStyle>
          <a:p>
            <a:r>
              <a:rPr lang="de-DE"/>
              <a:t>© TecAlliance GmbH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4"/>
          </p:nvPr>
        </p:nvSpPr>
        <p:spPr>
          <a:xfrm>
            <a:off x="11533426" y="6449039"/>
            <a:ext cx="252000" cy="14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lang="de-DE" sz="900" smtClean="0">
                <a:solidFill>
                  <a:schemeClr val="tx1"/>
                </a:solidFill>
              </a:defRPr>
            </a:lvl1pPr>
          </a:lstStyle>
          <a:p>
            <a:fld id="{CE82B8A1-0CCE-4815-9668-383D7DE7D8B4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705261CC-1CC6-4991-910F-238C8FC8F0C2}"/>
              </a:ext>
            </a:extLst>
          </p:cNvPr>
          <p:cNvCxnSpPr/>
          <p:nvPr userDrawn="1"/>
        </p:nvCxnSpPr>
        <p:spPr>
          <a:xfrm>
            <a:off x="-332075" y="1124744"/>
            <a:ext cx="21602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B4469CB0-9392-4484-A8F6-E63F17B82FA6}"/>
              </a:ext>
            </a:extLst>
          </p:cNvPr>
          <p:cNvCxnSpPr/>
          <p:nvPr userDrawn="1"/>
        </p:nvCxnSpPr>
        <p:spPr>
          <a:xfrm>
            <a:off x="-332075" y="1520788"/>
            <a:ext cx="21602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A1E24140-9226-46B4-BFF0-02F7D5C47F2A}"/>
              </a:ext>
            </a:extLst>
          </p:cNvPr>
          <p:cNvCxnSpPr/>
          <p:nvPr userDrawn="1"/>
        </p:nvCxnSpPr>
        <p:spPr>
          <a:xfrm>
            <a:off x="-311918" y="6092825"/>
            <a:ext cx="21602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8FB06E7B-EFB4-41F8-8BD6-A84D902C45F8}"/>
              </a:ext>
            </a:extLst>
          </p:cNvPr>
          <p:cNvCxnSpPr>
            <a:cxnSpLocks/>
          </p:cNvCxnSpPr>
          <p:nvPr userDrawn="1"/>
        </p:nvCxnSpPr>
        <p:spPr>
          <a:xfrm rot="5400000">
            <a:off x="336153" y="-279412"/>
            <a:ext cx="21602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B71DD7B3-C266-4D60-A24C-9F2079B4A758}"/>
              </a:ext>
            </a:extLst>
          </p:cNvPr>
          <p:cNvCxnSpPr>
            <a:cxnSpLocks/>
          </p:cNvCxnSpPr>
          <p:nvPr userDrawn="1"/>
        </p:nvCxnSpPr>
        <p:spPr>
          <a:xfrm rot="5400000">
            <a:off x="11677414" y="-279412"/>
            <a:ext cx="21602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B8B71820-993F-4012-AB22-99E4AAA9348D}"/>
              </a:ext>
            </a:extLst>
          </p:cNvPr>
          <p:cNvCxnSpPr>
            <a:cxnSpLocks/>
          </p:cNvCxnSpPr>
          <p:nvPr userDrawn="1"/>
        </p:nvCxnSpPr>
        <p:spPr>
          <a:xfrm rot="5400000">
            <a:off x="330678" y="7137412"/>
            <a:ext cx="21602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1716DE95-097E-4F8F-9D05-991D0DC39965}"/>
              </a:ext>
            </a:extLst>
          </p:cNvPr>
          <p:cNvCxnSpPr>
            <a:cxnSpLocks/>
          </p:cNvCxnSpPr>
          <p:nvPr userDrawn="1"/>
        </p:nvCxnSpPr>
        <p:spPr>
          <a:xfrm rot="5400000">
            <a:off x="11677414" y="7137412"/>
            <a:ext cx="21602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E9D49E71-A589-4304-90EB-E48A1C42C439}"/>
              </a:ext>
            </a:extLst>
          </p:cNvPr>
          <p:cNvCxnSpPr/>
          <p:nvPr userDrawn="1"/>
        </p:nvCxnSpPr>
        <p:spPr>
          <a:xfrm>
            <a:off x="12289482" y="1125538"/>
            <a:ext cx="21602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979D7E27-6F6A-4B45-8A6E-F2BAC0FFCF7A}"/>
              </a:ext>
            </a:extLst>
          </p:cNvPr>
          <p:cNvCxnSpPr/>
          <p:nvPr userDrawn="1"/>
        </p:nvCxnSpPr>
        <p:spPr>
          <a:xfrm>
            <a:off x="12289482" y="1520788"/>
            <a:ext cx="21602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7E99A030-0B35-476C-B5DA-C0EBA7B5384B}"/>
              </a:ext>
            </a:extLst>
          </p:cNvPr>
          <p:cNvCxnSpPr/>
          <p:nvPr userDrawn="1"/>
        </p:nvCxnSpPr>
        <p:spPr>
          <a:xfrm>
            <a:off x="12289482" y="6092825"/>
            <a:ext cx="21602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D1DC3640-A0B4-4C17-8010-ACB5E42D2A93}"/>
              </a:ext>
            </a:extLst>
          </p:cNvPr>
          <p:cNvCxnSpPr>
            <a:cxnSpLocks/>
          </p:cNvCxnSpPr>
          <p:nvPr userDrawn="1"/>
        </p:nvCxnSpPr>
        <p:spPr>
          <a:xfrm>
            <a:off x="-332075" y="440668"/>
            <a:ext cx="21602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VCT_Marker_ID_8" hidden="1">
            <a:extLst>
              <a:ext uri="{FF2B5EF4-FFF2-40B4-BE49-F238E27FC236}">
                <a16:creationId xmlns:a16="http://schemas.microsoft.com/office/drawing/2014/main" id="{F3EE0F3D-E972-4D5D-AE2F-EB498D4A6F59}"/>
              </a:ext>
            </a:extLst>
          </p:cNvPr>
          <p:cNvSpPr/>
          <p:nvPr userDrawn="1">
            <p:custDataLst>
              <p:tags r:id="rId27"/>
            </p:custDataLst>
          </p:nvPr>
        </p:nvSpPr>
        <p:spPr>
          <a:xfrm>
            <a:off x="1270000" y="127000"/>
            <a:ext cx="127000" cy="127000"/>
          </a:xfrm>
          <a:prstGeom prst="rect">
            <a:avLst/>
          </a:prstGeom>
          <a:noFill/>
          <a:ln w="635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algn="l"/>
            <a:endParaRPr lang="en-US" sz="1400" dirty="0">
              <a:solidFill>
                <a:schemeClr val="accent1"/>
              </a:solidFill>
            </a:endParaRPr>
          </a:p>
        </p:txBody>
      </p:sp>
      <p:cxnSp>
        <p:nvCxnSpPr>
          <p:cNvPr id="39" name="Gerader Verbinder 26">
            <a:extLst>
              <a:ext uri="{FF2B5EF4-FFF2-40B4-BE49-F238E27FC236}">
                <a16:creationId xmlns:a16="http://schemas.microsoft.com/office/drawing/2014/main" id="{5AEE7A3A-D4F7-3744-8BF4-2CE259D55F43}"/>
              </a:ext>
            </a:extLst>
          </p:cNvPr>
          <p:cNvCxnSpPr>
            <a:cxnSpLocks/>
          </p:cNvCxnSpPr>
          <p:nvPr userDrawn="1"/>
        </p:nvCxnSpPr>
        <p:spPr>
          <a:xfrm rot="5400000">
            <a:off x="5993375" y="-279412"/>
            <a:ext cx="21602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r Verbinder 26">
            <a:extLst>
              <a:ext uri="{FF2B5EF4-FFF2-40B4-BE49-F238E27FC236}">
                <a16:creationId xmlns:a16="http://schemas.microsoft.com/office/drawing/2014/main" id="{8663068A-1A13-DF45-8ECE-B29BE563937B}"/>
              </a:ext>
            </a:extLst>
          </p:cNvPr>
          <p:cNvCxnSpPr>
            <a:cxnSpLocks/>
          </p:cNvCxnSpPr>
          <p:nvPr userDrawn="1"/>
        </p:nvCxnSpPr>
        <p:spPr>
          <a:xfrm rot="5400000">
            <a:off x="6274729" y="-279412"/>
            <a:ext cx="21602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r Verbinder 26">
            <a:extLst>
              <a:ext uri="{FF2B5EF4-FFF2-40B4-BE49-F238E27FC236}">
                <a16:creationId xmlns:a16="http://schemas.microsoft.com/office/drawing/2014/main" id="{89115F56-AB99-F243-9A93-C86DCDEF355C}"/>
              </a:ext>
            </a:extLst>
          </p:cNvPr>
          <p:cNvCxnSpPr>
            <a:cxnSpLocks/>
          </p:cNvCxnSpPr>
          <p:nvPr userDrawn="1"/>
        </p:nvCxnSpPr>
        <p:spPr>
          <a:xfrm rot="5400000">
            <a:off x="5701973" y="-279412"/>
            <a:ext cx="21602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r Verbinder 29">
            <a:extLst>
              <a:ext uri="{FF2B5EF4-FFF2-40B4-BE49-F238E27FC236}">
                <a16:creationId xmlns:a16="http://schemas.microsoft.com/office/drawing/2014/main" id="{07680B28-CBBB-5A48-84CA-A462C45B41F5}"/>
              </a:ext>
            </a:extLst>
          </p:cNvPr>
          <p:cNvCxnSpPr>
            <a:cxnSpLocks/>
          </p:cNvCxnSpPr>
          <p:nvPr userDrawn="1"/>
        </p:nvCxnSpPr>
        <p:spPr>
          <a:xfrm rot="5400000">
            <a:off x="5699150" y="7137412"/>
            <a:ext cx="21602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r Verbinder 29">
            <a:extLst>
              <a:ext uri="{FF2B5EF4-FFF2-40B4-BE49-F238E27FC236}">
                <a16:creationId xmlns:a16="http://schemas.microsoft.com/office/drawing/2014/main" id="{77A3DCDE-0BA4-7947-A74E-EDC21C65BF5C}"/>
              </a:ext>
            </a:extLst>
          </p:cNvPr>
          <p:cNvCxnSpPr>
            <a:cxnSpLocks/>
          </p:cNvCxnSpPr>
          <p:nvPr userDrawn="1"/>
        </p:nvCxnSpPr>
        <p:spPr>
          <a:xfrm rot="5400000">
            <a:off x="5990552" y="7137412"/>
            <a:ext cx="21602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r Verbinder 29">
            <a:extLst>
              <a:ext uri="{FF2B5EF4-FFF2-40B4-BE49-F238E27FC236}">
                <a16:creationId xmlns:a16="http://schemas.microsoft.com/office/drawing/2014/main" id="{36BE8F08-8B0F-DE48-82F4-1FC285E42974}"/>
              </a:ext>
            </a:extLst>
          </p:cNvPr>
          <p:cNvCxnSpPr>
            <a:cxnSpLocks/>
          </p:cNvCxnSpPr>
          <p:nvPr userDrawn="1"/>
        </p:nvCxnSpPr>
        <p:spPr>
          <a:xfrm rot="5400000">
            <a:off x="6271906" y="7137412"/>
            <a:ext cx="21602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r Verbinder 31">
            <a:extLst>
              <a:ext uri="{FF2B5EF4-FFF2-40B4-BE49-F238E27FC236}">
                <a16:creationId xmlns:a16="http://schemas.microsoft.com/office/drawing/2014/main" id="{C0279826-2BC4-7B4B-86A7-6AD362F29A54}"/>
              </a:ext>
            </a:extLst>
          </p:cNvPr>
          <p:cNvCxnSpPr/>
          <p:nvPr userDrawn="1"/>
        </p:nvCxnSpPr>
        <p:spPr>
          <a:xfrm>
            <a:off x="12289482" y="763588"/>
            <a:ext cx="21602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r Verbinder 31">
            <a:extLst>
              <a:ext uri="{FF2B5EF4-FFF2-40B4-BE49-F238E27FC236}">
                <a16:creationId xmlns:a16="http://schemas.microsoft.com/office/drawing/2014/main" id="{5DA345E3-36FE-9242-A12F-4B6C1EA3A73B}"/>
              </a:ext>
            </a:extLst>
          </p:cNvPr>
          <p:cNvCxnSpPr/>
          <p:nvPr userDrawn="1"/>
        </p:nvCxnSpPr>
        <p:spPr>
          <a:xfrm>
            <a:off x="12289482" y="439738"/>
            <a:ext cx="21602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B2FDA75-FC6B-4C4C-A422-830185AAE47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4500" y="1520788"/>
            <a:ext cx="11340926" cy="45720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
Zweite Ebene
Dritte Ebene
Vierte Ebene
Fünfte Ebene</a:t>
            </a:r>
          </a:p>
        </p:txBody>
      </p:sp>
      <p:pic>
        <p:nvPicPr>
          <p:cNvPr id="36" name="Grafik 35">
            <a:extLst>
              <a:ext uri="{FF2B5EF4-FFF2-40B4-BE49-F238E27FC236}">
                <a16:creationId xmlns:a16="http://schemas.microsoft.com/office/drawing/2014/main" id="{04D9797C-37D3-DD47-B7D2-32387630EB8F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004" y="6349614"/>
            <a:ext cx="1409632" cy="283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33309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8" r:id="rId1"/>
    <p:sldLayoutId id="2147483884" r:id="rId2"/>
    <p:sldLayoutId id="2147483887" r:id="rId3"/>
    <p:sldLayoutId id="2147483836" r:id="rId4"/>
    <p:sldLayoutId id="2147483894" r:id="rId5"/>
    <p:sldLayoutId id="2147483900" r:id="rId6"/>
    <p:sldLayoutId id="2147483901" r:id="rId7"/>
    <p:sldLayoutId id="2147483806" r:id="rId8"/>
    <p:sldLayoutId id="2147483823" r:id="rId9"/>
    <p:sldLayoutId id="2147483825" r:id="rId10"/>
    <p:sldLayoutId id="2147483895" r:id="rId11"/>
    <p:sldLayoutId id="2147483896" r:id="rId12"/>
    <p:sldLayoutId id="2147483897" r:id="rId13"/>
    <p:sldLayoutId id="2147483843" r:id="rId14"/>
    <p:sldLayoutId id="2147483844" r:id="rId15"/>
    <p:sldLayoutId id="2147483841" r:id="rId16"/>
    <p:sldLayoutId id="2147483826" r:id="rId17"/>
    <p:sldLayoutId id="2147483875" r:id="rId18"/>
    <p:sldLayoutId id="2147483910" r:id="rId19"/>
    <p:sldLayoutId id="2147483893" r:id="rId20"/>
    <p:sldLayoutId id="2147483918" r:id="rId21"/>
    <p:sldLayoutId id="2147483919" r:id="rId22"/>
    <p:sldLayoutId id="2147483837" r:id="rId23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1"/>
        </a:buClr>
        <a:buFont typeface="Wingdings" pitchFamily="2" charset="2"/>
        <a:buNone/>
        <a:defRPr lang="de-DE" sz="200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27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1"/>
        </a:buClr>
        <a:buSzPct val="100000"/>
        <a:buFont typeface="Wingdings" pitchFamily="2" charset="2"/>
        <a:buChar char="§"/>
        <a:defRPr lang="de-DE" sz="20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1"/>
        </a:buClr>
        <a:buSzPct val="100000"/>
        <a:buFont typeface="Wingdings" pitchFamily="2" charset="2"/>
        <a:buChar char="§"/>
        <a:defRPr lang="de-DE" sz="16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81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1"/>
        </a:buClr>
        <a:buSzPct val="100000"/>
        <a:buFont typeface="Wingdings" pitchFamily="2" charset="2"/>
        <a:buChar char="§"/>
        <a:defRPr lang="de-DE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108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1"/>
        </a:buClr>
        <a:buSzPct val="100000"/>
        <a:buFont typeface="Wingdings" pitchFamily="2" charset="2"/>
        <a:buChar char="§"/>
        <a:defRPr lang="de-DE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350000" indent="-270000" algn="l" defTabSz="914400" rtl="0" eaLnBrk="1" latinLnBrk="0" hangingPunct="1">
        <a:spcBef>
          <a:spcPts val="0"/>
        </a:spcBef>
        <a:spcAft>
          <a:spcPts val="900"/>
        </a:spcAft>
        <a:buClr>
          <a:schemeClr val="tx1"/>
        </a:buClr>
        <a:buSzPct val="100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620000" indent="-270000" algn="l" defTabSz="914400" rtl="0" eaLnBrk="1" latinLnBrk="0" hangingPunct="1">
        <a:spcBef>
          <a:spcPts val="0"/>
        </a:spcBef>
        <a:spcAft>
          <a:spcPts val="900"/>
        </a:spcAft>
        <a:buClr>
          <a:schemeClr val="tx1"/>
        </a:buClr>
        <a:buSzPct val="100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016000" indent="-288000" algn="l" defTabSz="914400" rtl="0" eaLnBrk="1" latinLnBrk="0" hangingPunct="1">
        <a:spcBef>
          <a:spcPts val="600"/>
        </a:spcBef>
        <a:buClr>
          <a:schemeClr val="tx1"/>
        </a:buClr>
        <a:buSzPct val="100000"/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2304000" indent="-288000" algn="l" defTabSz="914400" rtl="0" eaLnBrk="1" latinLnBrk="0" hangingPunct="1">
        <a:spcBef>
          <a:spcPts val="600"/>
        </a:spcBef>
        <a:buClr>
          <a:schemeClr val="tx1"/>
        </a:buClr>
        <a:buSzPct val="100000"/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80" userDrawn="1">
          <p15:clr>
            <a:srgbClr val="F26B43"/>
          </p15:clr>
        </p15:guide>
        <p15:guide id="2" pos="7424">
          <p15:clr>
            <a:srgbClr val="F26B43"/>
          </p15:clr>
        </p15:guide>
        <p15:guide id="4" orient="horz" pos="958">
          <p15:clr>
            <a:srgbClr val="F26B43"/>
          </p15:clr>
        </p15:guide>
        <p15:guide id="9" orient="horz" pos="3838">
          <p15:clr>
            <a:srgbClr val="F26B43"/>
          </p15:clr>
        </p15:guide>
        <p15:guide id="10" orient="horz" pos="709">
          <p15:clr>
            <a:srgbClr val="F26B43"/>
          </p15:clr>
        </p15:guide>
        <p15:guide id="11" orient="horz" pos="482">
          <p15:clr>
            <a:srgbClr val="F26B43"/>
          </p15:clr>
        </p15:guide>
        <p15:guide id="12" pos="3659">
          <p15:clr>
            <a:srgbClr val="F26B43"/>
          </p15:clr>
        </p15:guide>
        <p15:guide id="13" pos="3840">
          <p15:clr>
            <a:srgbClr val="F26B43"/>
          </p15:clr>
        </p15:guide>
        <p15:guide id="14" pos="4022">
          <p15:clr>
            <a:srgbClr val="F26B43"/>
          </p15:clr>
        </p15:guide>
        <p15:guide id="15" orient="horz" pos="278">
          <p15:clr>
            <a:srgbClr val="F26B43"/>
          </p15:clr>
        </p15:guide>
        <p15:guide id="16" orient="horz">
          <p15:clr>
            <a:srgbClr val="F26B43"/>
          </p15:clr>
        </p15:guide>
        <p15:guide id="17" orient="horz" pos="1207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Rechtwinkliges Dreieck 11">
            <a:extLst>
              <a:ext uri="{FF2B5EF4-FFF2-40B4-BE49-F238E27FC236}">
                <a16:creationId xmlns:a16="http://schemas.microsoft.com/office/drawing/2014/main" id="{1353793C-3356-0441-9DA0-BCC4E64E9C61}"/>
              </a:ext>
            </a:extLst>
          </p:cNvPr>
          <p:cNvSpPr/>
          <p:nvPr userDrawn="1"/>
        </p:nvSpPr>
        <p:spPr>
          <a:xfrm flipH="1">
            <a:off x="-7545" y="3457764"/>
            <a:ext cx="12200496" cy="3416906"/>
          </a:xfrm>
          <a:custGeom>
            <a:avLst/>
            <a:gdLst>
              <a:gd name="connsiteX0" fmla="*/ 0 w 12193338"/>
              <a:gd name="connsiteY0" fmla="*/ 2816932 h 2816932"/>
              <a:gd name="connsiteX1" fmla="*/ 0 w 12193338"/>
              <a:gd name="connsiteY1" fmla="*/ 0 h 2816932"/>
              <a:gd name="connsiteX2" fmla="*/ 12193338 w 12193338"/>
              <a:gd name="connsiteY2" fmla="*/ 2816932 h 2816932"/>
              <a:gd name="connsiteX3" fmla="*/ 0 w 12193338"/>
              <a:gd name="connsiteY3" fmla="*/ 2816932 h 2816932"/>
              <a:gd name="connsiteX0" fmla="*/ 0 w 12193338"/>
              <a:gd name="connsiteY0" fmla="*/ 2816932 h 2816932"/>
              <a:gd name="connsiteX1" fmla="*/ 0 w 12193338"/>
              <a:gd name="connsiteY1" fmla="*/ 0 h 2816932"/>
              <a:gd name="connsiteX2" fmla="*/ 6915484 w 12193338"/>
              <a:gd name="connsiteY2" fmla="*/ 1605753 h 2816932"/>
              <a:gd name="connsiteX3" fmla="*/ 12193338 w 12193338"/>
              <a:gd name="connsiteY3" fmla="*/ 2816932 h 2816932"/>
              <a:gd name="connsiteX4" fmla="*/ 0 w 12193338"/>
              <a:gd name="connsiteY4" fmla="*/ 2816932 h 2816932"/>
              <a:gd name="connsiteX0" fmla="*/ 0 w 12209379"/>
              <a:gd name="connsiteY0" fmla="*/ 2816932 h 2816932"/>
              <a:gd name="connsiteX1" fmla="*/ 0 w 12209379"/>
              <a:gd name="connsiteY1" fmla="*/ 0 h 2816932"/>
              <a:gd name="connsiteX2" fmla="*/ 12209379 w 12209379"/>
              <a:gd name="connsiteY2" fmla="*/ 1284911 h 2816932"/>
              <a:gd name="connsiteX3" fmla="*/ 12193338 w 12209379"/>
              <a:gd name="connsiteY3" fmla="*/ 2816932 h 2816932"/>
              <a:gd name="connsiteX4" fmla="*/ 0 w 12209379"/>
              <a:gd name="connsiteY4" fmla="*/ 2816932 h 2816932"/>
              <a:gd name="connsiteX0" fmla="*/ 0 w 12209379"/>
              <a:gd name="connsiteY0" fmla="*/ 3859668 h 3859668"/>
              <a:gd name="connsiteX1" fmla="*/ 0 w 12209379"/>
              <a:gd name="connsiteY1" fmla="*/ 0 h 3859668"/>
              <a:gd name="connsiteX2" fmla="*/ 12209379 w 12209379"/>
              <a:gd name="connsiteY2" fmla="*/ 2327647 h 3859668"/>
              <a:gd name="connsiteX3" fmla="*/ 12193338 w 12209379"/>
              <a:gd name="connsiteY3" fmla="*/ 3859668 h 3859668"/>
              <a:gd name="connsiteX4" fmla="*/ 0 w 12209379"/>
              <a:gd name="connsiteY4" fmla="*/ 3859668 h 3859668"/>
              <a:gd name="connsiteX0" fmla="*/ 0 w 12209379"/>
              <a:gd name="connsiteY0" fmla="*/ 3859668 h 3859668"/>
              <a:gd name="connsiteX1" fmla="*/ 0 w 12209379"/>
              <a:gd name="connsiteY1" fmla="*/ 0 h 3859668"/>
              <a:gd name="connsiteX2" fmla="*/ 12209379 w 12209379"/>
              <a:gd name="connsiteY2" fmla="*/ 2327647 h 3859668"/>
              <a:gd name="connsiteX3" fmla="*/ 12193338 w 12209379"/>
              <a:gd name="connsiteY3" fmla="*/ 3859668 h 3859668"/>
              <a:gd name="connsiteX4" fmla="*/ 0 w 12209379"/>
              <a:gd name="connsiteY4" fmla="*/ 3859668 h 3859668"/>
              <a:gd name="connsiteX0" fmla="*/ 0 w 12209379"/>
              <a:gd name="connsiteY0" fmla="*/ 3859668 h 3859668"/>
              <a:gd name="connsiteX1" fmla="*/ 0 w 12209379"/>
              <a:gd name="connsiteY1" fmla="*/ 0 h 3859668"/>
              <a:gd name="connsiteX2" fmla="*/ 12209379 w 12209379"/>
              <a:gd name="connsiteY2" fmla="*/ 2327647 h 3859668"/>
              <a:gd name="connsiteX3" fmla="*/ 12193338 w 12209379"/>
              <a:gd name="connsiteY3" fmla="*/ 3859668 h 3859668"/>
              <a:gd name="connsiteX4" fmla="*/ 0 w 12209379"/>
              <a:gd name="connsiteY4" fmla="*/ 3859668 h 3859668"/>
              <a:gd name="connsiteX0" fmla="*/ 0 w 12209379"/>
              <a:gd name="connsiteY0" fmla="*/ 3859668 h 3859668"/>
              <a:gd name="connsiteX1" fmla="*/ 0 w 12209379"/>
              <a:gd name="connsiteY1" fmla="*/ 0 h 3859668"/>
              <a:gd name="connsiteX2" fmla="*/ 12209379 w 12209379"/>
              <a:gd name="connsiteY2" fmla="*/ 2632447 h 3859668"/>
              <a:gd name="connsiteX3" fmla="*/ 12193338 w 12209379"/>
              <a:gd name="connsiteY3" fmla="*/ 3859668 h 3859668"/>
              <a:gd name="connsiteX4" fmla="*/ 0 w 12209379"/>
              <a:gd name="connsiteY4" fmla="*/ 3859668 h 3859668"/>
              <a:gd name="connsiteX0" fmla="*/ 0 w 12209379"/>
              <a:gd name="connsiteY0" fmla="*/ 3859668 h 3859668"/>
              <a:gd name="connsiteX1" fmla="*/ 0 w 12209379"/>
              <a:gd name="connsiteY1" fmla="*/ 0 h 3859668"/>
              <a:gd name="connsiteX2" fmla="*/ 12209379 w 12209379"/>
              <a:gd name="connsiteY2" fmla="*/ 2632447 h 3859668"/>
              <a:gd name="connsiteX3" fmla="*/ 12202977 w 12209379"/>
              <a:gd name="connsiteY3" fmla="*/ 3416906 h 3859668"/>
              <a:gd name="connsiteX4" fmla="*/ 0 w 12209379"/>
              <a:gd name="connsiteY4" fmla="*/ 3859668 h 3859668"/>
              <a:gd name="connsiteX0" fmla="*/ 0 w 12209379"/>
              <a:gd name="connsiteY0" fmla="*/ 3407281 h 3416906"/>
              <a:gd name="connsiteX1" fmla="*/ 0 w 12209379"/>
              <a:gd name="connsiteY1" fmla="*/ 0 h 3416906"/>
              <a:gd name="connsiteX2" fmla="*/ 12209379 w 12209379"/>
              <a:gd name="connsiteY2" fmla="*/ 2632447 h 3416906"/>
              <a:gd name="connsiteX3" fmla="*/ 12202977 w 12209379"/>
              <a:gd name="connsiteY3" fmla="*/ 3416906 h 3416906"/>
              <a:gd name="connsiteX4" fmla="*/ 0 w 12209379"/>
              <a:gd name="connsiteY4" fmla="*/ 3407281 h 3416906"/>
              <a:gd name="connsiteX0" fmla="*/ 0 w 12209379"/>
              <a:gd name="connsiteY0" fmla="*/ 3407281 h 3416906"/>
              <a:gd name="connsiteX1" fmla="*/ 0 w 12209379"/>
              <a:gd name="connsiteY1" fmla="*/ 0 h 3416906"/>
              <a:gd name="connsiteX2" fmla="*/ 12209379 w 12209379"/>
              <a:gd name="connsiteY2" fmla="*/ 2632447 h 3416906"/>
              <a:gd name="connsiteX3" fmla="*/ 12202977 w 12209379"/>
              <a:gd name="connsiteY3" fmla="*/ 3416906 h 3416906"/>
              <a:gd name="connsiteX4" fmla="*/ 0 w 12209379"/>
              <a:gd name="connsiteY4" fmla="*/ 3407281 h 3416906"/>
              <a:gd name="connsiteX0" fmla="*/ 0 w 12211656"/>
              <a:gd name="connsiteY0" fmla="*/ 3407281 h 3412572"/>
              <a:gd name="connsiteX1" fmla="*/ 0 w 12211656"/>
              <a:gd name="connsiteY1" fmla="*/ 0 h 3412572"/>
              <a:gd name="connsiteX2" fmla="*/ 12209379 w 12211656"/>
              <a:gd name="connsiteY2" fmla="*/ 2632447 h 3412572"/>
              <a:gd name="connsiteX3" fmla="*/ 12211656 w 12211656"/>
              <a:gd name="connsiteY3" fmla="*/ 3412572 h 3412572"/>
              <a:gd name="connsiteX4" fmla="*/ 0 w 12211656"/>
              <a:gd name="connsiteY4" fmla="*/ 3407281 h 3412572"/>
              <a:gd name="connsiteX0" fmla="*/ 0 w 12209379"/>
              <a:gd name="connsiteY0" fmla="*/ 3407281 h 3412572"/>
              <a:gd name="connsiteX1" fmla="*/ 0 w 12209379"/>
              <a:gd name="connsiteY1" fmla="*/ 0 h 3412572"/>
              <a:gd name="connsiteX2" fmla="*/ 12209379 w 12209379"/>
              <a:gd name="connsiteY2" fmla="*/ 2632447 h 3412572"/>
              <a:gd name="connsiteX3" fmla="*/ 12202978 w 12209379"/>
              <a:gd name="connsiteY3" fmla="*/ 3412572 h 3412572"/>
              <a:gd name="connsiteX4" fmla="*/ 0 w 12209379"/>
              <a:gd name="connsiteY4" fmla="*/ 3407281 h 3412572"/>
              <a:gd name="connsiteX0" fmla="*/ 0 w 12209379"/>
              <a:gd name="connsiteY0" fmla="*/ 3407281 h 3412572"/>
              <a:gd name="connsiteX1" fmla="*/ 0 w 12209379"/>
              <a:gd name="connsiteY1" fmla="*/ 0 h 3412572"/>
              <a:gd name="connsiteX2" fmla="*/ 12209379 w 12209379"/>
              <a:gd name="connsiteY2" fmla="*/ 2632447 h 3412572"/>
              <a:gd name="connsiteX3" fmla="*/ 12202978 w 12209379"/>
              <a:gd name="connsiteY3" fmla="*/ 3412572 h 3412572"/>
              <a:gd name="connsiteX4" fmla="*/ 0 w 12209379"/>
              <a:gd name="connsiteY4" fmla="*/ 3407281 h 3412572"/>
              <a:gd name="connsiteX0" fmla="*/ 0 w 12216544"/>
              <a:gd name="connsiteY0" fmla="*/ 3407281 h 3416906"/>
              <a:gd name="connsiteX1" fmla="*/ 0 w 12216544"/>
              <a:gd name="connsiteY1" fmla="*/ 0 h 3416906"/>
              <a:gd name="connsiteX2" fmla="*/ 12209379 w 12216544"/>
              <a:gd name="connsiteY2" fmla="*/ 2632447 h 3416906"/>
              <a:gd name="connsiteX3" fmla="*/ 12215996 w 12216544"/>
              <a:gd name="connsiteY3" fmla="*/ 3416906 h 3416906"/>
              <a:gd name="connsiteX4" fmla="*/ 0 w 12216544"/>
              <a:gd name="connsiteY4" fmla="*/ 3407281 h 3416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16544" h="3416906">
                <a:moveTo>
                  <a:pt x="0" y="3407281"/>
                </a:moveTo>
                <a:lnTo>
                  <a:pt x="0" y="0"/>
                </a:lnTo>
                <a:lnTo>
                  <a:pt x="12209379" y="2632447"/>
                </a:lnTo>
                <a:cubicBezTo>
                  <a:pt x="12207245" y="2892489"/>
                  <a:pt x="12219196" y="3026843"/>
                  <a:pt x="12215996" y="3416906"/>
                </a:cubicBezTo>
                <a:lnTo>
                  <a:pt x="0" y="3407281"/>
                </a:lnTo>
                <a:close/>
              </a:path>
            </a:pathLst>
          </a:custGeom>
          <a:solidFill>
            <a:schemeClr val="tx2">
              <a:lumMod val="40000"/>
              <a:lumOff val="60000"/>
              <a:alpha val="20000"/>
            </a:schemeClr>
          </a:soli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37" name="Rechtwinkliges Dreieck 11">
            <a:extLst>
              <a:ext uri="{FF2B5EF4-FFF2-40B4-BE49-F238E27FC236}">
                <a16:creationId xmlns:a16="http://schemas.microsoft.com/office/drawing/2014/main" id="{9252CF52-3584-5147-84CF-081EADB623E4}"/>
              </a:ext>
            </a:extLst>
          </p:cNvPr>
          <p:cNvSpPr/>
          <p:nvPr userDrawn="1"/>
        </p:nvSpPr>
        <p:spPr>
          <a:xfrm>
            <a:off x="248" y="2996895"/>
            <a:ext cx="12193340" cy="3859668"/>
          </a:xfrm>
          <a:custGeom>
            <a:avLst/>
            <a:gdLst>
              <a:gd name="connsiteX0" fmla="*/ 0 w 12193338"/>
              <a:gd name="connsiteY0" fmla="*/ 2816932 h 2816932"/>
              <a:gd name="connsiteX1" fmla="*/ 0 w 12193338"/>
              <a:gd name="connsiteY1" fmla="*/ 0 h 2816932"/>
              <a:gd name="connsiteX2" fmla="*/ 12193338 w 12193338"/>
              <a:gd name="connsiteY2" fmla="*/ 2816932 h 2816932"/>
              <a:gd name="connsiteX3" fmla="*/ 0 w 12193338"/>
              <a:gd name="connsiteY3" fmla="*/ 2816932 h 2816932"/>
              <a:gd name="connsiteX0" fmla="*/ 0 w 12193338"/>
              <a:gd name="connsiteY0" fmla="*/ 2816932 h 2816932"/>
              <a:gd name="connsiteX1" fmla="*/ 0 w 12193338"/>
              <a:gd name="connsiteY1" fmla="*/ 0 h 2816932"/>
              <a:gd name="connsiteX2" fmla="*/ 6915484 w 12193338"/>
              <a:gd name="connsiteY2" fmla="*/ 1605753 h 2816932"/>
              <a:gd name="connsiteX3" fmla="*/ 12193338 w 12193338"/>
              <a:gd name="connsiteY3" fmla="*/ 2816932 h 2816932"/>
              <a:gd name="connsiteX4" fmla="*/ 0 w 12193338"/>
              <a:gd name="connsiteY4" fmla="*/ 2816932 h 2816932"/>
              <a:gd name="connsiteX0" fmla="*/ 0 w 12209379"/>
              <a:gd name="connsiteY0" fmla="*/ 2816932 h 2816932"/>
              <a:gd name="connsiteX1" fmla="*/ 0 w 12209379"/>
              <a:gd name="connsiteY1" fmla="*/ 0 h 2816932"/>
              <a:gd name="connsiteX2" fmla="*/ 12209379 w 12209379"/>
              <a:gd name="connsiteY2" fmla="*/ 1284911 h 2816932"/>
              <a:gd name="connsiteX3" fmla="*/ 12193338 w 12209379"/>
              <a:gd name="connsiteY3" fmla="*/ 2816932 h 2816932"/>
              <a:gd name="connsiteX4" fmla="*/ 0 w 12209379"/>
              <a:gd name="connsiteY4" fmla="*/ 2816932 h 2816932"/>
              <a:gd name="connsiteX0" fmla="*/ 0 w 12209379"/>
              <a:gd name="connsiteY0" fmla="*/ 3859668 h 3859668"/>
              <a:gd name="connsiteX1" fmla="*/ 0 w 12209379"/>
              <a:gd name="connsiteY1" fmla="*/ 0 h 3859668"/>
              <a:gd name="connsiteX2" fmla="*/ 12209379 w 12209379"/>
              <a:gd name="connsiteY2" fmla="*/ 2327647 h 3859668"/>
              <a:gd name="connsiteX3" fmla="*/ 12193338 w 12209379"/>
              <a:gd name="connsiteY3" fmla="*/ 3859668 h 3859668"/>
              <a:gd name="connsiteX4" fmla="*/ 0 w 12209379"/>
              <a:gd name="connsiteY4" fmla="*/ 3859668 h 3859668"/>
              <a:gd name="connsiteX0" fmla="*/ 0 w 12209379"/>
              <a:gd name="connsiteY0" fmla="*/ 3859668 h 3859668"/>
              <a:gd name="connsiteX1" fmla="*/ 0 w 12209379"/>
              <a:gd name="connsiteY1" fmla="*/ 0 h 3859668"/>
              <a:gd name="connsiteX2" fmla="*/ 12209379 w 12209379"/>
              <a:gd name="connsiteY2" fmla="*/ 2327647 h 3859668"/>
              <a:gd name="connsiteX3" fmla="*/ 12193338 w 12209379"/>
              <a:gd name="connsiteY3" fmla="*/ 3859668 h 3859668"/>
              <a:gd name="connsiteX4" fmla="*/ 0 w 12209379"/>
              <a:gd name="connsiteY4" fmla="*/ 3859668 h 3859668"/>
              <a:gd name="connsiteX0" fmla="*/ 0 w 12209379"/>
              <a:gd name="connsiteY0" fmla="*/ 3859668 h 3859668"/>
              <a:gd name="connsiteX1" fmla="*/ 0 w 12209379"/>
              <a:gd name="connsiteY1" fmla="*/ 0 h 3859668"/>
              <a:gd name="connsiteX2" fmla="*/ 12209379 w 12209379"/>
              <a:gd name="connsiteY2" fmla="*/ 2327647 h 3859668"/>
              <a:gd name="connsiteX3" fmla="*/ 12193338 w 12209379"/>
              <a:gd name="connsiteY3" fmla="*/ 3859668 h 3859668"/>
              <a:gd name="connsiteX4" fmla="*/ 0 w 12209379"/>
              <a:gd name="connsiteY4" fmla="*/ 3859668 h 3859668"/>
              <a:gd name="connsiteX0" fmla="*/ 0 w 12209379"/>
              <a:gd name="connsiteY0" fmla="*/ 3859668 h 3859668"/>
              <a:gd name="connsiteX1" fmla="*/ 0 w 12209379"/>
              <a:gd name="connsiteY1" fmla="*/ 0 h 3859668"/>
              <a:gd name="connsiteX2" fmla="*/ 12209379 w 12209379"/>
              <a:gd name="connsiteY2" fmla="*/ 2632447 h 3859668"/>
              <a:gd name="connsiteX3" fmla="*/ 12193338 w 12209379"/>
              <a:gd name="connsiteY3" fmla="*/ 3859668 h 3859668"/>
              <a:gd name="connsiteX4" fmla="*/ 0 w 12209379"/>
              <a:gd name="connsiteY4" fmla="*/ 3859668 h 3859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09379" h="3859668">
                <a:moveTo>
                  <a:pt x="0" y="3859668"/>
                </a:moveTo>
                <a:lnTo>
                  <a:pt x="0" y="0"/>
                </a:lnTo>
                <a:lnTo>
                  <a:pt x="12209379" y="2632447"/>
                </a:lnTo>
                <a:lnTo>
                  <a:pt x="12193338" y="3859668"/>
                </a:lnTo>
                <a:lnTo>
                  <a:pt x="0" y="3859668"/>
                </a:lnTo>
                <a:close/>
              </a:path>
            </a:pathLst>
          </a:custGeom>
          <a:solidFill>
            <a:schemeClr val="tx2">
              <a:lumMod val="40000"/>
              <a:lumOff val="60000"/>
              <a:alpha val="15000"/>
            </a:schemeClr>
          </a:soli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36" name="Rechtwinkliges Dreieck 35">
            <a:extLst>
              <a:ext uri="{FF2B5EF4-FFF2-40B4-BE49-F238E27FC236}">
                <a16:creationId xmlns:a16="http://schemas.microsoft.com/office/drawing/2014/main" id="{6B1E0084-AEDE-DC45-8C53-E6656307321C}"/>
              </a:ext>
            </a:extLst>
          </p:cNvPr>
          <p:cNvSpPr/>
          <p:nvPr userDrawn="1"/>
        </p:nvSpPr>
        <p:spPr>
          <a:xfrm>
            <a:off x="-1" y="4687348"/>
            <a:ext cx="8509063" cy="2170652"/>
          </a:xfrm>
          <a:prstGeom prst="rtTriangle">
            <a:avLst/>
          </a:prstGeom>
          <a:solidFill>
            <a:schemeClr val="tx2">
              <a:lumMod val="20000"/>
              <a:lumOff val="80000"/>
              <a:alpha val="20000"/>
            </a:schemeClr>
          </a:soli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sz="1400" dirty="0" err="1">
              <a:solidFill>
                <a:schemeClr val="bg1"/>
              </a:solidFill>
            </a:endParaRPr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CC71F77F-F1D8-4F20-ADA8-4C3C1B00BD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956" name="think-cell Folie" r:id="rId23" imgW="306" imgH="306" progId="TCLayout.ActiveDocument.1">
                  <p:embed/>
                </p:oleObj>
              </mc:Choice>
              <mc:Fallback>
                <p:oleObj name="think-cell Folie" r:id="rId2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CC71F77F-F1D8-4F20-ADA8-4C3C1B00BD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" name="Freihandform: Form 58">
            <a:extLst>
              <a:ext uri="{FF2B5EF4-FFF2-40B4-BE49-F238E27FC236}">
                <a16:creationId xmlns:a16="http://schemas.microsoft.com/office/drawing/2014/main" id="{0E65FE95-DBDA-456A-953F-F252A00B77CF}"/>
              </a:ext>
            </a:extLst>
          </p:cNvPr>
          <p:cNvSpPr/>
          <p:nvPr userDrawn="1"/>
        </p:nvSpPr>
        <p:spPr>
          <a:xfrm>
            <a:off x="12193201" y="5751248"/>
            <a:ext cx="389" cy="1106753"/>
          </a:xfrm>
          <a:custGeom>
            <a:avLst/>
            <a:gdLst>
              <a:gd name="connsiteX0" fmla="*/ 0 w 389"/>
              <a:gd name="connsiteY0" fmla="*/ 0 h 1106753"/>
              <a:gd name="connsiteX1" fmla="*/ 388 w 389"/>
              <a:gd name="connsiteY1" fmla="*/ 80 h 1106753"/>
              <a:gd name="connsiteX2" fmla="*/ 388 w 389"/>
              <a:gd name="connsiteY2" fmla="*/ 80 h 1106753"/>
              <a:gd name="connsiteX3" fmla="*/ 389 w 389"/>
              <a:gd name="connsiteY3" fmla="*/ 80 h 1106753"/>
              <a:gd name="connsiteX4" fmla="*/ 389 w 389"/>
              <a:gd name="connsiteY4" fmla="*/ 1106753 h 1106753"/>
              <a:gd name="connsiteX5" fmla="*/ 0 w 389"/>
              <a:gd name="connsiteY5" fmla="*/ 1106753 h 1106753"/>
              <a:gd name="connsiteX6" fmla="*/ 0 w 389"/>
              <a:gd name="connsiteY6" fmla="*/ 0 h 11067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89" h="1106753">
                <a:moveTo>
                  <a:pt x="0" y="0"/>
                </a:moveTo>
                <a:lnTo>
                  <a:pt x="388" y="80"/>
                </a:lnTo>
                <a:lnTo>
                  <a:pt x="388" y="80"/>
                </a:lnTo>
                <a:lnTo>
                  <a:pt x="389" y="80"/>
                </a:lnTo>
                <a:lnTo>
                  <a:pt x="389" y="1106753"/>
                </a:lnTo>
                <a:lnTo>
                  <a:pt x="0" y="1106753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alpha val="21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t">
            <a:noAutofit/>
          </a:bodyPr>
          <a:lstStyle/>
          <a:p>
            <a:pPr algn="l"/>
            <a:endParaRPr lang="de-DE" sz="1400" dirty="0">
              <a:solidFill>
                <a:schemeClr val="accent1"/>
              </a:solidFill>
            </a:endParaRPr>
          </a:p>
        </p:txBody>
      </p:sp>
      <p:sp>
        <p:nvSpPr>
          <p:cNvPr id="2" name="Titelplatzhalter 1"/>
          <p:cNvSpPr>
            <a:spLocks noGrp="1"/>
          </p:cNvSpPr>
          <p:nvPr userDrawn="1">
            <p:ph type="title"/>
          </p:nvPr>
        </p:nvSpPr>
        <p:spPr>
          <a:xfrm>
            <a:off x="444500" y="441324"/>
            <a:ext cx="11340926" cy="68341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sz="3200"/>
              <a:t>Headli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 userDrawn="1">
            <p:ph type="dt" sz="half" idx="2"/>
          </p:nvPr>
        </p:nvSpPr>
        <p:spPr>
          <a:xfrm>
            <a:off x="10759362" y="6449039"/>
            <a:ext cx="648000" cy="14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tx1"/>
                </a:solidFill>
              </a:defRPr>
            </a:lvl1pPr>
            <a:lvl2pPr marL="0" indent="0">
              <a:defRPr sz="900">
                <a:solidFill>
                  <a:schemeClr val="tx2">
                    <a:lumMod val="20000"/>
                    <a:lumOff val="80000"/>
                  </a:schemeClr>
                </a:solidFill>
              </a:defRPr>
            </a:lvl2pPr>
            <a:lvl3pPr marL="0" indent="0">
              <a:defRPr sz="900">
                <a:solidFill>
                  <a:schemeClr val="tx2">
                    <a:lumMod val="20000"/>
                    <a:lumOff val="80000"/>
                  </a:schemeClr>
                </a:solidFill>
              </a:defRPr>
            </a:lvl3pPr>
            <a:lvl4pPr marL="0" indent="0">
              <a:defRPr sz="900">
                <a:solidFill>
                  <a:schemeClr val="tx2">
                    <a:lumMod val="20000"/>
                    <a:lumOff val="80000"/>
                  </a:schemeClr>
                </a:solidFill>
              </a:defRPr>
            </a:lvl4pPr>
            <a:lvl5pPr marL="0" indent="0">
              <a:defRPr sz="900">
                <a:solidFill>
                  <a:schemeClr val="tx2">
                    <a:lumMod val="20000"/>
                    <a:lumOff val="80000"/>
                  </a:schemeClr>
                </a:solidFill>
              </a:defRPr>
            </a:lvl5pPr>
            <a:lvl6pPr marL="0" indent="0">
              <a:defRPr sz="900">
                <a:solidFill>
                  <a:schemeClr val="tx2">
                    <a:lumMod val="20000"/>
                    <a:lumOff val="80000"/>
                  </a:schemeClr>
                </a:solidFill>
              </a:defRPr>
            </a:lvl6pPr>
            <a:lvl7pPr marL="0" indent="0">
              <a:defRPr sz="900">
                <a:solidFill>
                  <a:schemeClr val="tx2">
                    <a:lumMod val="20000"/>
                    <a:lumOff val="80000"/>
                  </a:schemeClr>
                </a:solidFill>
              </a:defRPr>
            </a:lvl7pPr>
            <a:lvl8pPr marL="0" indent="0">
              <a:defRPr sz="900">
                <a:solidFill>
                  <a:schemeClr val="tx2">
                    <a:lumMod val="20000"/>
                    <a:lumOff val="80000"/>
                  </a:schemeClr>
                </a:solidFill>
              </a:defRPr>
            </a:lvl8pPr>
            <a:lvl9pPr marL="0" indent="0">
              <a:defRPr sz="900">
                <a:solidFill>
                  <a:schemeClr val="tx2">
                    <a:lumMod val="20000"/>
                    <a:lumOff val="80000"/>
                  </a:schemeClr>
                </a:solidFill>
              </a:defRPr>
            </a:lvl9pPr>
          </a:lstStyle>
          <a:p>
            <a:fld id="{4F515D4F-C8A6-469E-B5B4-2E24FD320A31}" type="datetime1">
              <a:rPr lang="de-DE" smtClean="0"/>
              <a:t>05.08.2020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3"/>
          </p:nvPr>
        </p:nvSpPr>
        <p:spPr>
          <a:xfrm>
            <a:off x="2641298" y="6448943"/>
            <a:ext cx="7992000" cy="144096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 algn="r">
              <a:defRPr sz="900">
                <a:solidFill>
                  <a:schemeClr val="tx1"/>
                </a:solidFill>
              </a:defRPr>
            </a:lvl1pPr>
            <a:lvl2pPr marL="0" indent="0">
              <a:defRPr sz="900">
                <a:solidFill>
                  <a:schemeClr val="tx2">
                    <a:lumMod val="20000"/>
                    <a:lumOff val="80000"/>
                  </a:schemeClr>
                </a:solidFill>
              </a:defRPr>
            </a:lvl2pPr>
            <a:lvl3pPr marL="0" indent="0">
              <a:defRPr sz="900">
                <a:solidFill>
                  <a:schemeClr val="tx2">
                    <a:lumMod val="20000"/>
                    <a:lumOff val="80000"/>
                  </a:schemeClr>
                </a:solidFill>
              </a:defRPr>
            </a:lvl3pPr>
            <a:lvl4pPr marL="0" indent="0">
              <a:defRPr sz="900">
                <a:solidFill>
                  <a:schemeClr val="tx2">
                    <a:lumMod val="20000"/>
                    <a:lumOff val="80000"/>
                  </a:schemeClr>
                </a:solidFill>
              </a:defRPr>
            </a:lvl4pPr>
            <a:lvl5pPr marL="0" indent="0">
              <a:defRPr sz="900">
                <a:solidFill>
                  <a:schemeClr val="tx2">
                    <a:lumMod val="20000"/>
                    <a:lumOff val="80000"/>
                  </a:schemeClr>
                </a:solidFill>
              </a:defRPr>
            </a:lvl5pPr>
            <a:lvl6pPr marL="0" indent="0">
              <a:defRPr sz="900">
                <a:solidFill>
                  <a:schemeClr val="tx2">
                    <a:lumMod val="20000"/>
                    <a:lumOff val="80000"/>
                  </a:schemeClr>
                </a:solidFill>
              </a:defRPr>
            </a:lvl6pPr>
            <a:lvl7pPr marL="0" indent="0">
              <a:defRPr sz="900">
                <a:solidFill>
                  <a:schemeClr val="tx2">
                    <a:lumMod val="20000"/>
                    <a:lumOff val="80000"/>
                  </a:schemeClr>
                </a:solidFill>
              </a:defRPr>
            </a:lvl7pPr>
            <a:lvl8pPr marL="0" indent="0">
              <a:defRPr sz="900">
                <a:solidFill>
                  <a:schemeClr val="tx2">
                    <a:lumMod val="20000"/>
                    <a:lumOff val="80000"/>
                  </a:schemeClr>
                </a:solidFill>
              </a:defRPr>
            </a:lvl8pPr>
            <a:lvl9pPr marL="0" indent="0">
              <a:defRPr sz="900">
                <a:solidFill>
                  <a:schemeClr val="tx2">
                    <a:lumMod val="20000"/>
                    <a:lumOff val="80000"/>
                  </a:schemeClr>
                </a:solidFill>
              </a:defRPr>
            </a:lvl9pPr>
          </a:lstStyle>
          <a:p>
            <a:r>
              <a:rPr lang="de-DE"/>
              <a:t>© TecAlliance GmbH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4"/>
          </p:nvPr>
        </p:nvSpPr>
        <p:spPr>
          <a:xfrm>
            <a:off x="11533426" y="6449039"/>
            <a:ext cx="252000" cy="14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lang="de-DE" sz="900" smtClean="0">
                <a:solidFill>
                  <a:schemeClr val="tx1"/>
                </a:solidFill>
              </a:defRPr>
            </a:lvl1pPr>
          </a:lstStyle>
          <a:p>
            <a:fld id="{CE82B8A1-0CCE-4815-9668-383D7DE7D8B4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705261CC-1CC6-4991-910F-238C8FC8F0C2}"/>
              </a:ext>
            </a:extLst>
          </p:cNvPr>
          <p:cNvCxnSpPr/>
          <p:nvPr userDrawn="1"/>
        </p:nvCxnSpPr>
        <p:spPr>
          <a:xfrm>
            <a:off x="-332075" y="1124744"/>
            <a:ext cx="21602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B4469CB0-9392-4484-A8F6-E63F17B82FA6}"/>
              </a:ext>
            </a:extLst>
          </p:cNvPr>
          <p:cNvCxnSpPr/>
          <p:nvPr userDrawn="1"/>
        </p:nvCxnSpPr>
        <p:spPr>
          <a:xfrm>
            <a:off x="-332075" y="1520788"/>
            <a:ext cx="21602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A1E24140-9226-46B4-BFF0-02F7D5C47F2A}"/>
              </a:ext>
            </a:extLst>
          </p:cNvPr>
          <p:cNvCxnSpPr/>
          <p:nvPr userDrawn="1"/>
        </p:nvCxnSpPr>
        <p:spPr>
          <a:xfrm>
            <a:off x="-311918" y="6092825"/>
            <a:ext cx="21602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8FB06E7B-EFB4-41F8-8BD6-A84D902C45F8}"/>
              </a:ext>
            </a:extLst>
          </p:cNvPr>
          <p:cNvCxnSpPr>
            <a:cxnSpLocks/>
          </p:cNvCxnSpPr>
          <p:nvPr userDrawn="1"/>
        </p:nvCxnSpPr>
        <p:spPr>
          <a:xfrm rot="5400000">
            <a:off x="336153" y="-279412"/>
            <a:ext cx="21602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B71DD7B3-C266-4D60-A24C-9F2079B4A758}"/>
              </a:ext>
            </a:extLst>
          </p:cNvPr>
          <p:cNvCxnSpPr>
            <a:cxnSpLocks/>
          </p:cNvCxnSpPr>
          <p:nvPr userDrawn="1"/>
        </p:nvCxnSpPr>
        <p:spPr>
          <a:xfrm rot="5400000">
            <a:off x="11677414" y="-279412"/>
            <a:ext cx="21602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B8B71820-993F-4012-AB22-99E4AAA9348D}"/>
              </a:ext>
            </a:extLst>
          </p:cNvPr>
          <p:cNvCxnSpPr>
            <a:cxnSpLocks/>
          </p:cNvCxnSpPr>
          <p:nvPr userDrawn="1"/>
        </p:nvCxnSpPr>
        <p:spPr>
          <a:xfrm rot="5400000">
            <a:off x="330678" y="7137412"/>
            <a:ext cx="21602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1716DE95-097E-4F8F-9D05-991D0DC39965}"/>
              </a:ext>
            </a:extLst>
          </p:cNvPr>
          <p:cNvCxnSpPr>
            <a:cxnSpLocks/>
          </p:cNvCxnSpPr>
          <p:nvPr userDrawn="1"/>
        </p:nvCxnSpPr>
        <p:spPr>
          <a:xfrm rot="5400000">
            <a:off x="11677414" y="7137412"/>
            <a:ext cx="21602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E9D49E71-A589-4304-90EB-E48A1C42C439}"/>
              </a:ext>
            </a:extLst>
          </p:cNvPr>
          <p:cNvCxnSpPr/>
          <p:nvPr userDrawn="1"/>
        </p:nvCxnSpPr>
        <p:spPr>
          <a:xfrm>
            <a:off x="12289482" y="1125538"/>
            <a:ext cx="21602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979D7E27-6F6A-4B45-8A6E-F2BAC0FFCF7A}"/>
              </a:ext>
            </a:extLst>
          </p:cNvPr>
          <p:cNvCxnSpPr/>
          <p:nvPr userDrawn="1"/>
        </p:nvCxnSpPr>
        <p:spPr>
          <a:xfrm>
            <a:off x="12289482" y="1520788"/>
            <a:ext cx="21602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7E99A030-0B35-476C-B5DA-C0EBA7B5384B}"/>
              </a:ext>
            </a:extLst>
          </p:cNvPr>
          <p:cNvCxnSpPr/>
          <p:nvPr userDrawn="1"/>
        </p:nvCxnSpPr>
        <p:spPr>
          <a:xfrm>
            <a:off x="12289482" y="6092825"/>
            <a:ext cx="21602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D1DC3640-A0B4-4C17-8010-ACB5E42D2A93}"/>
              </a:ext>
            </a:extLst>
          </p:cNvPr>
          <p:cNvCxnSpPr>
            <a:cxnSpLocks/>
          </p:cNvCxnSpPr>
          <p:nvPr userDrawn="1"/>
        </p:nvCxnSpPr>
        <p:spPr>
          <a:xfrm>
            <a:off x="-332075" y="440668"/>
            <a:ext cx="21602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VCT_Marker_ID_8" hidden="1">
            <a:extLst>
              <a:ext uri="{FF2B5EF4-FFF2-40B4-BE49-F238E27FC236}">
                <a16:creationId xmlns:a16="http://schemas.microsoft.com/office/drawing/2014/main" id="{F3EE0F3D-E972-4D5D-AE2F-EB498D4A6F59}"/>
              </a:ext>
            </a:extLst>
          </p:cNvPr>
          <p:cNvSpPr/>
          <p:nvPr userDrawn="1">
            <p:custDataLst>
              <p:tags r:id="rId22"/>
            </p:custDataLst>
          </p:nvPr>
        </p:nvSpPr>
        <p:spPr>
          <a:xfrm>
            <a:off x="1270000" y="127000"/>
            <a:ext cx="127000" cy="127000"/>
          </a:xfrm>
          <a:prstGeom prst="rect">
            <a:avLst/>
          </a:prstGeom>
          <a:noFill/>
          <a:ln w="635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algn="l"/>
            <a:endParaRPr lang="en-US" sz="1400" dirty="0">
              <a:solidFill>
                <a:schemeClr val="accent1"/>
              </a:solidFill>
            </a:endParaRPr>
          </a:p>
        </p:txBody>
      </p:sp>
      <p:cxnSp>
        <p:nvCxnSpPr>
          <p:cNvPr id="39" name="Gerader Verbinder 26">
            <a:extLst>
              <a:ext uri="{FF2B5EF4-FFF2-40B4-BE49-F238E27FC236}">
                <a16:creationId xmlns:a16="http://schemas.microsoft.com/office/drawing/2014/main" id="{5AEE7A3A-D4F7-3744-8BF4-2CE259D55F43}"/>
              </a:ext>
            </a:extLst>
          </p:cNvPr>
          <p:cNvCxnSpPr>
            <a:cxnSpLocks/>
          </p:cNvCxnSpPr>
          <p:nvPr userDrawn="1"/>
        </p:nvCxnSpPr>
        <p:spPr>
          <a:xfrm rot="5400000">
            <a:off x="5993375" y="-279412"/>
            <a:ext cx="21602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r Verbinder 26">
            <a:extLst>
              <a:ext uri="{FF2B5EF4-FFF2-40B4-BE49-F238E27FC236}">
                <a16:creationId xmlns:a16="http://schemas.microsoft.com/office/drawing/2014/main" id="{8663068A-1A13-DF45-8ECE-B29BE563937B}"/>
              </a:ext>
            </a:extLst>
          </p:cNvPr>
          <p:cNvCxnSpPr>
            <a:cxnSpLocks/>
          </p:cNvCxnSpPr>
          <p:nvPr userDrawn="1"/>
        </p:nvCxnSpPr>
        <p:spPr>
          <a:xfrm rot="5400000">
            <a:off x="6274729" y="-279412"/>
            <a:ext cx="21602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r Verbinder 26">
            <a:extLst>
              <a:ext uri="{FF2B5EF4-FFF2-40B4-BE49-F238E27FC236}">
                <a16:creationId xmlns:a16="http://schemas.microsoft.com/office/drawing/2014/main" id="{89115F56-AB99-F243-9A93-C86DCDEF355C}"/>
              </a:ext>
            </a:extLst>
          </p:cNvPr>
          <p:cNvCxnSpPr>
            <a:cxnSpLocks/>
          </p:cNvCxnSpPr>
          <p:nvPr userDrawn="1"/>
        </p:nvCxnSpPr>
        <p:spPr>
          <a:xfrm rot="5400000">
            <a:off x="5701973" y="-279412"/>
            <a:ext cx="21602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r Verbinder 29">
            <a:extLst>
              <a:ext uri="{FF2B5EF4-FFF2-40B4-BE49-F238E27FC236}">
                <a16:creationId xmlns:a16="http://schemas.microsoft.com/office/drawing/2014/main" id="{07680B28-CBBB-5A48-84CA-A462C45B41F5}"/>
              </a:ext>
            </a:extLst>
          </p:cNvPr>
          <p:cNvCxnSpPr>
            <a:cxnSpLocks/>
          </p:cNvCxnSpPr>
          <p:nvPr userDrawn="1"/>
        </p:nvCxnSpPr>
        <p:spPr>
          <a:xfrm rot="5400000">
            <a:off x="5699150" y="7137412"/>
            <a:ext cx="21602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r Verbinder 29">
            <a:extLst>
              <a:ext uri="{FF2B5EF4-FFF2-40B4-BE49-F238E27FC236}">
                <a16:creationId xmlns:a16="http://schemas.microsoft.com/office/drawing/2014/main" id="{77A3DCDE-0BA4-7947-A74E-EDC21C65BF5C}"/>
              </a:ext>
            </a:extLst>
          </p:cNvPr>
          <p:cNvCxnSpPr>
            <a:cxnSpLocks/>
          </p:cNvCxnSpPr>
          <p:nvPr userDrawn="1"/>
        </p:nvCxnSpPr>
        <p:spPr>
          <a:xfrm rot="5400000">
            <a:off x="5990552" y="7137412"/>
            <a:ext cx="21602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r Verbinder 29">
            <a:extLst>
              <a:ext uri="{FF2B5EF4-FFF2-40B4-BE49-F238E27FC236}">
                <a16:creationId xmlns:a16="http://schemas.microsoft.com/office/drawing/2014/main" id="{36BE8F08-8B0F-DE48-82F4-1FC285E42974}"/>
              </a:ext>
            </a:extLst>
          </p:cNvPr>
          <p:cNvCxnSpPr>
            <a:cxnSpLocks/>
          </p:cNvCxnSpPr>
          <p:nvPr userDrawn="1"/>
        </p:nvCxnSpPr>
        <p:spPr>
          <a:xfrm rot="5400000">
            <a:off x="6271906" y="7137412"/>
            <a:ext cx="21602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r Verbinder 31">
            <a:extLst>
              <a:ext uri="{FF2B5EF4-FFF2-40B4-BE49-F238E27FC236}">
                <a16:creationId xmlns:a16="http://schemas.microsoft.com/office/drawing/2014/main" id="{C0279826-2BC4-7B4B-86A7-6AD362F29A54}"/>
              </a:ext>
            </a:extLst>
          </p:cNvPr>
          <p:cNvCxnSpPr/>
          <p:nvPr userDrawn="1"/>
        </p:nvCxnSpPr>
        <p:spPr>
          <a:xfrm>
            <a:off x="12289482" y="763588"/>
            <a:ext cx="21602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r Verbinder 31">
            <a:extLst>
              <a:ext uri="{FF2B5EF4-FFF2-40B4-BE49-F238E27FC236}">
                <a16:creationId xmlns:a16="http://schemas.microsoft.com/office/drawing/2014/main" id="{5DA345E3-36FE-9242-A12F-4B6C1EA3A73B}"/>
              </a:ext>
            </a:extLst>
          </p:cNvPr>
          <p:cNvCxnSpPr/>
          <p:nvPr userDrawn="1"/>
        </p:nvCxnSpPr>
        <p:spPr>
          <a:xfrm>
            <a:off x="12289482" y="439738"/>
            <a:ext cx="21602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2DA44BB-B6F7-1B40-A72C-F3014D9BDF8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4500" y="1520789"/>
            <a:ext cx="11340926" cy="457203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
Zweite Ebene
Dritte Ebene
Vierte Ebene
Fünfte Ebene</a:t>
            </a:r>
          </a:p>
        </p:txBody>
      </p:sp>
      <p:sp>
        <p:nvSpPr>
          <p:cNvPr id="34" name="Rechtwinkliges Dreieck 33">
            <a:extLst>
              <a:ext uri="{FF2B5EF4-FFF2-40B4-BE49-F238E27FC236}">
                <a16:creationId xmlns:a16="http://schemas.microsoft.com/office/drawing/2014/main" id="{BA9B35C8-4CB7-0348-A596-C44F052CC023}"/>
              </a:ext>
            </a:extLst>
          </p:cNvPr>
          <p:cNvSpPr/>
          <p:nvPr userDrawn="1"/>
        </p:nvSpPr>
        <p:spPr>
          <a:xfrm>
            <a:off x="-1" y="4687348"/>
            <a:ext cx="8509063" cy="2170652"/>
          </a:xfrm>
          <a:prstGeom prst="rtTriangle">
            <a:avLst/>
          </a:prstGeom>
          <a:solidFill>
            <a:schemeClr val="tx2">
              <a:lumMod val="20000"/>
              <a:lumOff val="80000"/>
              <a:alpha val="20000"/>
            </a:schemeClr>
          </a:soli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sz="1400" dirty="0" err="1">
              <a:solidFill>
                <a:schemeClr val="bg1"/>
              </a:solidFill>
            </a:endParaRPr>
          </a:p>
        </p:txBody>
      </p:sp>
      <p:pic>
        <p:nvPicPr>
          <p:cNvPr id="48" name="Grafik 47">
            <a:extLst>
              <a:ext uri="{FF2B5EF4-FFF2-40B4-BE49-F238E27FC236}">
                <a16:creationId xmlns:a16="http://schemas.microsoft.com/office/drawing/2014/main" id="{95CA2C52-D3D0-A247-B0F4-856A27975920}"/>
              </a:ext>
            </a:extLst>
          </p:cNvPr>
          <p:cNvPicPr>
            <a:picLocks noChangeAspect="1"/>
          </p:cNvPicPr>
          <p:nvPr userDrawn="1"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004" y="6349614"/>
            <a:ext cx="1409632" cy="283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91456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6" r:id="rId1"/>
    <p:sldLayoutId id="2147483906" r:id="rId2"/>
    <p:sldLayoutId id="2147483907" r:id="rId3"/>
    <p:sldLayoutId id="2147483822" r:id="rId4"/>
    <p:sldLayoutId id="2147483898" r:id="rId5"/>
    <p:sldLayoutId id="2147483902" r:id="rId6"/>
    <p:sldLayoutId id="2147483903" r:id="rId7"/>
    <p:sldLayoutId id="2147483810" r:id="rId8"/>
    <p:sldLayoutId id="2147483807" r:id="rId9"/>
    <p:sldLayoutId id="2147483809" r:id="rId10"/>
    <p:sldLayoutId id="2147483819" r:id="rId11"/>
    <p:sldLayoutId id="2147483818" r:id="rId12"/>
    <p:sldLayoutId id="2147483842" r:id="rId13"/>
    <p:sldLayoutId id="2147483866" r:id="rId14"/>
    <p:sldLayoutId id="2147483908" r:id="rId15"/>
    <p:sldLayoutId id="2147483911" r:id="rId16"/>
    <p:sldLayoutId id="2147483920" r:id="rId17"/>
    <p:sldLayoutId id="2147483921" r:id="rId18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1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27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1"/>
        </a:buClr>
        <a:buSzPct val="100000"/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27090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1"/>
        </a:buClr>
        <a:buSzPct val="100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810900" indent="-27090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1"/>
        </a:buClr>
        <a:buSzPct val="100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080000" indent="-27090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1"/>
        </a:buClr>
        <a:buSzPct val="100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350000" indent="-288000" algn="l" defTabSz="914400" rtl="0" eaLnBrk="1" latinLnBrk="0" hangingPunct="1">
        <a:spcBef>
          <a:spcPts val="0"/>
        </a:spcBef>
        <a:spcAft>
          <a:spcPts val="900"/>
        </a:spcAft>
        <a:buClr>
          <a:schemeClr val="tx1"/>
        </a:buClr>
        <a:buSzPct val="100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620000" indent="-270000" algn="l" defTabSz="914400" rtl="0" eaLnBrk="1" latinLnBrk="0" hangingPunct="1">
        <a:spcBef>
          <a:spcPts val="0"/>
        </a:spcBef>
        <a:spcAft>
          <a:spcPts val="900"/>
        </a:spcAft>
        <a:buClr>
          <a:schemeClr val="tx1"/>
        </a:buClr>
        <a:buSzPct val="100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016000" indent="-288000" algn="l" defTabSz="914400" rtl="0" eaLnBrk="1" latinLnBrk="0" hangingPunct="1">
        <a:spcBef>
          <a:spcPts val="600"/>
        </a:spcBef>
        <a:buClr>
          <a:schemeClr val="tx1"/>
        </a:buClr>
        <a:buSzPct val="100000"/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2304000" indent="-288000" algn="l" defTabSz="914400" rtl="0" eaLnBrk="1" latinLnBrk="0" hangingPunct="1">
        <a:spcBef>
          <a:spcPts val="600"/>
        </a:spcBef>
        <a:buClr>
          <a:schemeClr val="tx1"/>
        </a:buClr>
        <a:buSzPct val="100000"/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80" userDrawn="1">
          <p15:clr>
            <a:srgbClr val="F26B43"/>
          </p15:clr>
        </p15:guide>
        <p15:guide id="2" pos="7424" userDrawn="1">
          <p15:clr>
            <a:srgbClr val="F26B43"/>
          </p15:clr>
        </p15:guide>
        <p15:guide id="4" orient="horz" pos="958" userDrawn="1">
          <p15:clr>
            <a:srgbClr val="F26B43"/>
          </p15:clr>
        </p15:guide>
        <p15:guide id="9" orient="horz" pos="3838" userDrawn="1">
          <p15:clr>
            <a:srgbClr val="F26B43"/>
          </p15:clr>
        </p15:guide>
        <p15:guide id="10" orient="horz" pos="709" userDrawn="1">
          <p15:clr>
            <a:srgbClr val="F26B43"/>
          </p15:clr>
        </p15:guide>
        <p15:guide id="11" orient="horz" pos="482" userDrawn="1">
          <p15:clr>
            <a:srgbClr val="F26B43"/>
          </p15:clr>
        </p15:guide>
        <p15:guide id="12" pos="3659" userDrawn="1">
          <p15:clr>
            <a:srgbClr val="F26B43"/>
          </p15:clr>
        </p15:guide>
        <p15:guide id="13" pos="3840" userDrawn="1">
          <p15:clr>
            <a:srgbClr val="F26B43"/>
          </p15:clr>
        </p15:guide>
        <p15:guide id="14" pos="4022" userDrawn="1">
          <p15:clr>
            <a:srgbClr val="F26B43"/>
          </p15:clr>
        </p15:guide>
        <p15:guide id="15" orient="horz" pos="278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" name="Grafik 47">
            <a:extLst>
              <a:ext uri="{FF2B5EF4-FFF2-40B4-BE49-F238E27FC236}">
                <a16:creationId xmlns:a16="http://schemas.microsoft.com/office/drawing/2014/main" id="{68FEECB3-3E49-C64B-B30E-72F4E3214480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665"/>
            <a:ext cx="12192000" cy="6858000"/>
          </a:xfrm>
          <a:prstGeom prst="rect">
            <a:avLst/>
          </a:prstGeom>
        </p:spPr>
      </p:pic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CC71F77F-F1D8-4F20-ADA8-4C3C1B00BD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7338" name="think-cell Folie" r:id="rId14" imgW="306" imgH="306" progId="TCLayout.ActiveDocument.1">
                  <p:embed/>
                </p:oleObj>
              </mc:Choice>
              <mc:Fallback>
                <p:oleObj name="think-cell Folie" r:id="rId14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CC71F77F-F1D8-4F20-ADA8-4C3C1B00BD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" name="Freihandform: Form 58">
            <a:extLst>
              <a:ext uri="{FF2B5EF4-FFF2-40B4-BE49-F238E27FC236}">
                <a16:creationId xmlns:a16="http://schemas.microsoft.com/office/drawing/2014/main" id="{0E65FE95-DBDA-456A-953F-F252A00B77CF}"/>
              </a:ext>
            </a:extLst>
          </p:cNvPr>
          <p:cNvSpPr/>
          <p:nvPr userDrawn="1"/>
        </p:nvSpPr>
        <p:spPr>
          <a:xfrm>
            <a:off x="12040007" y="5603513"/>
            <a:ext cx="389" cy="1106753"/>
          </a:xfrm>
          <a:custGeom>
            <a:avLst/>
            <a:gdLst>
              <a:gd name="connsiteX0" fmla="*/ 0 w 389"/>
              <a:gd name="connsiteY0" fmla="*/ 0 h 1106753"/>
              <a:gd name="connsiteX1" fmla="*/ 388 w 389"/>
              <a:gd name="connsiteY1" fmla="*/ 80 h 1106753"/>
              <a:gd name="connsiteX2" fmla="*/ 388 w 389"/>
              <a:gd name="connsiteY2" fmla="*/ 80 h 1106753"/>
              <a:gd name="connsiteX3" fmla="*/ 389 w 389"/>
              <a:gd name="connsiteY3" fmla="*/ 80 h 1106753"/>
              <a:gd name="connsiteX4" fmla="*/ 389 w 389"/>
              <a:gd name="connsiteY4" fmla="*/ 1106753 h 1106753"/>
              <a:gd name="connsiteX5" fmla="*/ 0 w 389"/>
              <a:gd name="connsiteY5" fmla="*/ 1106753 h 1106753"/>
              <a:gd name="connsiteX6" fmla="*/ 0 w 389"/>
              <a:gd name="connsiteY6" fmla="*/ 0 h 11067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89" h="1106753">
                <a:moveTo>
                  <a:pt x="0" y="0"/>
                </a:moveTo>
                <a:lnTo>
                  <a:pt x="388" y="80"/>
                </a:lnTo>
                <a:lnTo>
                  <a:pt x="388" y="80"/>
                </a:lnTo>
                <a:lnTo>
                  <a:pt x="389" y="80"/>
                </a:lnTo>
                <a:lnTo>
                  <a:pt x="389" y="1106753"/>
                </a:lnTo>
                <a:lnTo>
                  <a:pt x="0" y="1106753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alpha val="21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t">
            <a:noAutofit/>
          </a:bodyPr>
          <a:lstStyle/>
          <a:p>
            <a:pPr algn="l"/>
            <a:endParaRPr lang="de-DE" sz="1400" dirty="0">
              <a:solidFill>
                <a:schemeClr val="accent1"/>
              </a:solidFill>
            </a:endParaRPr>
          </a:p>
        </p:txBody>
      </p:sp>
      <p:sp>
        <p:nvSpPr>
          <p:cNvPr id="2" name="Titelplatzhalter 1"/>
          <p:cNvSpPr>
            <a:spLocks noGrp="1"/>
          </p:cNvSpPr>
          <p:nvPr userDrawn="1">
            <p:ph type="title"/>
          </p:nvPr>
        </p:nvSpPr>
        <p:spPr>
          <a:xfrm>
            <a:off x="291306" y="293589"/>
            <a:ext cx="11340926" cy="68341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sz="3200"/>
              <a:t>Headli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 userDrawn="1">
            <p:ph type="dt" sz="half" idx="2"/>
          </p:nvPr>
        </p:nvSpPr>
        <p:spPr>
          <a:xfrm>
            <a:off x="10606168" y="6301304"/>
            <a:ext cx="648000" cy="14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bg1"/>
                </a:solidFill>
              </a:defRPr>
            </a:lvl1pPr>
            <a:lvl2pPr marL="0" indent="0">
              <a:defRPr sz="900">
                <a:solidFill>
                  <a:schemeClr val="tx2">
                    <a:lumMod val="20000"/>
                    <a:lumOff val="80000"/>
                  </a:schemeClr>
                </a:solidFill>
              </a:defRPr>
            </a:lvl2pPr>
            <a:lvl3pPr marL="0" indent="0">
              <a:defRPr sz="900">
                <a:solidFill>
                  <a:schemeClr val="tx2">
                    <a:lumMod val="20000"/>
                    <a:lumOff val="80000"/>
                  </a:schemeClr>
                </a:solidFill>
              </a:defRPr>
            </a:lvl3pPr>
            <a:lvl4pPr marL="0" indent="0">
              <a:defRPr sz="900">
                <a:solidFill>
                  <a:schemeClr val="tx2">
                    <a:lumMod val="20000"/>
                    <a:lumOff val="80000"/>
                  </a:schemeClr>
                </a:solidFill>
              </a:defRPr>
            </a:lvl4pPr>
            <a:lvl5pPr marL="0" indent="0">
              <a:defRPr sz="900">
                <a:solidFill>
                  <a:schemeClr val="tx2">
                    <a:lumMod val="20000"/>
                    <a:lumOff val="80000"/>
                  </a:schemeClr>
                </a:solidFill>
              </a:defRPr>
            </a:lvl5pPr>
            <a:lvl6pPr marL="0" indent="0">
              <a:defRPr sz="900">
                <a:solidFill>
                  <a:schemeClr val="tx2">
                    <a:lumMod val="20000"/>
                    <a:lumOff val="80000"/>
                  </a:schemeClr>
                </a:solidFill>
              </a:defRPr>
            </a:lvl6pPr>
            <a:lvl7pPr marL="0" indent="0">
              <a:defRPr sz="900">
                <a:solidFill>
                  <a:schemeClr val="tx2">
                    <a:lumMod val="20000"/>
                    <a:lumOff val="80000"/>
                  </a:schemeClr>
                </a:solidFill>
              </a:defRPr>
            </a:lvl7pPr>
            <a:lvl8pPr marL="0" indent="0">
              <a:defRPr sz="900">
                <a:solidFill>
                  <a:schemeClr val="tx2">
                    <a:lumMod val="20000"/>
                    <a:lumOff val="80000"/>
                  </a:schemeClr>
                </a:solidFill>
              </a:defRPr>
            </a:lvl8pPr>
            <a:lvl9pPr marL="0" indent="0">
              <a:defRPr sz="900">
                <a:solidFill>
                  <a:schemeClr val="tx2">
                    <a:lumMod val="20000"/>
                    <a:lumOff val="80000"/>
                  </a:schemeClr>
                </a:solidFill>
              </a:defRPr>
            </a:lvl9pPr>
          </a:lstStyle>
          <a:p>
            <a:fld id="{1AC351DE-FA5B-45E5-BF1C-DB1F4ACBA03E}" type="datetime1">
              <a:rPr lang="de-DE" smtClean="0"/>
              <a:t>05.08.2020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3"/>
          </p:nvPr>
        </p:nvSpPr>
        <p:spPr>
          <a:xfrm>
            <a:off x="2488104" y="6301208"/>
            <a:ext cx="7992000" cy="144096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 algn="r">
              <a:defRPr sz="900">
                <a:solidFill>
                  <a:schemeClr val="bg1"/>
                </a:solidFill>
              </a:defRPr>
            </a:lvl1pPr>
            <a:lvl2pPr marL="0" indent="0">
              <a:defRPr sz="900">
                <a:solidFill>
                  <a:schemeClr val="tx2">
                    <a:lumMod val="20000"/>
                    <a:lumOff val="80000"/>
                  </a:schemeClr>
                </a:solidFill>
              </a:defRPr>
            </a:lvl2pPr>
            <a:lvl3pPr marL="0" indent="0">
              <a:defRPr sz="900">
                <a:solidFill>
                  <a:schemeClr val="tx2">
                    <a:lumMod val="20000"/>
                    <a:lumOff val="80000"/>
                  </a:schemeClr>
                </a:solidFill>
              </a:defRPr>
            </a:lvl3pPr>
            <a:lvl4pPr marL="0" indent="0">
              <a:defRPr sz="900">
                <a:solidFill>
                  <a:schemeClr val="tx2">
                    <a:lumMod val="20000"/>
                    <a:lumOff val="80000"/>
                  </a:schemeClr>
                </a:solidFill>
              </a:defRPr>
            </a:lvl4pPr>
            <a:lvl5pPr marL="0" indent="0">
              <a:defRPr sz="900">
                <a:solidFill>
                  <a:schemeClr val="tx2">
                    <a:lumMod val="20000"/>
                    <a:lumOff val="80000"/>
                  </a:schemeClr>
                </a:solidFill>
              </a:defRPr>
            </a:lvl5pPr>
            <a:lvl6pPr marL="0" indent="0">
              <a:defRPr sz="900">
                <a:solidFill>
                  <a:schemeClr val="tx2">
                    <a:lumMod val="20000"/>
                    <a:lumOff val="80000"/>
                  </a:schemeClr>
                </a:solidFill>
              </a:defRPr>
            </a:lvl6pPr>
            <a:lvl7pPr marL="0" indent="0">
              <a:defRPr sz="900">
                <a:solidFill>
                  <a:schemeClr val="tx2">
                    <a:lumMod val="20000"/>
                    <a:lumOff val="80000"/>
                  </a:schemeClr>
                </a:solidFill>
              </a:defRPr>
            </a:lvl7pPr>
            <a:lvl8pPr marL="0" indent="0">
              <a:defRPr sz="900">
                <a:solidFill>
                  <a:schemeClr val="tx2">
                    <a:lumMod val="20000"/>
                    <a:lumOff val="80000"/>
                  </a:schemeClr>
                </a:solidFill>
              </a:defRPr>
            </a:lvl8pPr>
            <a:lvl9pPr marL="0" indent="0">
              <a:defRPr sz="900">
                <a:solidFill>
                  <a:schemeClr val="tx2">
                    <a:lumMod val="20000"/>
                    <a:lumOff val="80000"/>
                  </a:schemeClr>
                </a:solidFill>
              </a:defRPr>
            </a:lvl9pPr>
          </a:lstStyle>
          <a:p>
            <a:r>
              <a:rPr lang="de-DE"/>
              <a:t>© TecAlliance GmbH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4"/>
          </p:nvPr>
        </p:nvSpPr>
        <p:spPr>
          <a:xfrm>
            <a:off x="11380232" y="6301304"/>
            <a:ext cx="252000" cy="14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lang="de-DE" sz="900" smtClean="0">
                <a:solidFill>
                  <a:schemeClr val="bg1"/>
                </a:solidFill>
              </a:defRPr>
            </a:lvl1pPr>
          </a:lstStyle>
          <a:p>
            <a:fld id="{CE82B8A1-0CCE-4815-9668-383D7DE7D8B4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705261CC-1CC6-4991-910F-238C8FC8F0C2}"/>
              </a:ext>
            </a:extLst>
          </p:cNvPr>
          <p:cNvCxnSpPr/>
          <p:nvPr userDrawn="1"/>
        </p:nvCxnSpPr>
        <p:spPr>
          <a:xfrm>
            <a:off x="-485269" y="977009"/>
            <a:ext cx="21602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B4469CB0-9392-4484-A8F6-E63F17B82FA6}"/>
              </a:ext>
            </a:extLst>
          </p:cNvPr>
          <p:cNvCxnSpPr/>
          <p:nvPr userDrawn="1"/>
        </p:nvCxnSpPr>
        <p:spPr>
          <a:xfrm>
            <a:off x="-485269" y="1373053"/>
            <a:ext cx="21602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A1E24140-9226-46B4-BFF0-02F7D5C47F2A}"/>
              </a:ext>
            </a:extLst>
          </p:cNvPr>
          <p:cNvCxnSpPr/>
          <p:nvPr userDrawn="1"/>
        </p:nvCxnSpPr>
        <p:spPr>
          <a:xfrm>
            <a:off x="-465112" y="5945090"/>
            <a:ext cx="21602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8FB06E7B-EFB4-41F8-8BD6-A84D902C45F8}"/>
              </a:ext>
            </a:extLst>
          </p:cNvPr>
          <p:cNvCxnSpPr>
            <a:cxnSpLocks/>
          </p:cNvCxnSpPr>
          <p:nvPr userDrawn="1"/>
        </p:nvCxnSpPr>
        <p:spPr>
          <a:xfrm rot="5400000">
            <a:off x="182959" y="-427147"/>
            <a:ext cx="21602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B71DD7B3-C266-4D60-A24C-9F2079B4A758}"/>
              </a:ext>
            </a:extLst>
          </p:cNvPr>
          <p:cNvCxnSpPr>
            <a:cxnSpLocks/>
          </p:cNvCxnSpPr>
          <p:nvPr userDrawn="1"/>
        </p:nvCxnSpPr>
        <p:spPr>
          <a:xfrm rot="5400000">
            <a:off x="11524220" y="-427147"/>
            <a:ext cx="21602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B8B71820-993F-4012-AB22-99E4AAA9348D}"/>
              </a:ext>
            </a:extLst>
          </p:cNvPr>
          <p:cNvCxnSpPr>
            <a:cxnSpLocks/>
          </p:cNvCxnSpPr>
          <p:nvPr userDrawn="1"/>
        </p:nvCxnSpPr>
        <p:spPr>
          <a:xfrm rot="5400000">
            <a:off x="177484" y="6989677"/>
            <a:ext cx="21602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1716DE95-097E-4F8F-9D05-991D0DC39965}"/>
              </a:ext>
            </a:extLst>
          </p:cNvPr>
          <p:cNvCxnSpPr>
            <a:cxnSpLocks/>
          </p:cNvCxnSpPr>
          <p:nvPr userDrawn="1"/>
        </p:nvCxnSpPr>
        <p:spPr>
          <a:xfrm rot="5400000">
            <a:off x="11524220" y="6989677"/>
            <a:ext cx="21602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E9D49E71-A589-4304-90EB-E48A1C42C439}"/>
              </a:ext>
            </a:extLst>
          </p:cNvPr>
          <p:cNvCxnSpPr/>
          <p:nvPr userDrawn="1"/>
        </p:nvCxnSpPr>
        <p:spPr>
          <a:xfrm>
            <a:off x="12136288" y="977803"/>
            <a:ext cx="21602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979D7E27-6F6A-4B45-8A6E-F2BAC0FFCF7A}"/>
              </a:ext>
            </a:extLst>
          </p:cNvPr>
          <p:cNvCxnSpPr/>
          <p:nvPr userDrawn="1"/>
        </p:nvCxnSpPr>
        <p:spPr>
          <a:xfrm>
            <a:off x="12136288" y="1373053"/>
            <a:ext cx="21602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7E99A030-0B35-476C-B5DA-C0EBA7B5384B}"/>
              </a:ext>
            </a:extLst>
          </p:cNvPr>
          <p:cNvCxnSpPr/>
          <p:nvPr userDrawn="1"/>
        </p:nvCxnSpPr>
        <p:spPr>
          <a:xfrm>
            <a:off x="12136288" y="5945090"/>
            <a:ext cx="21602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D1DC3640-A0B4-4C17-8010-ACB5E42D2A93}"/>
              </a:ext>
            </a:extLst>
          </p:cNvPr>
          <p:cNvCxnSpPr>
            <a:cxnSpLocks/>
          </p:cNvCxnSpPr>
          <p:nvPr userDrawn="1"/>
        </p:nvCxnSpPr>
        <p:spPr>
          <a:xfrm>
            <a:off x="-485269" y="292933"/>
            <a:ext cx="21602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VCT_Marker_ID_8" hidden="1">
            <a:extLst>
              <a:ext uri="{FF2B5EF4-FFF2-40B4-BE49-F238E27FC236}">
                <a16:creationId xmlns:a16="http://schemas.microsoft.com/office/drawing/2014/main" id="{F3EE0F3D-E972-4D5D-AE2F-EB498D4A6F59}"/>
              </a:ext>
            </a:extLst>
          </p:cNvPr>
          <p:cNvSpPr/>
          <p:nvPr userDrawn="1">
            <p:custDataLst>
              <p:tags r:id="rId12"/>
            </p:custDataLst>
          </p:nvPr>
        </p:nvSpPr>
        <p:spPr>
          <a:xfrm>
            <a:off x="1270000" y="127000"/>
            <a:ext cx="127000" cy="127000"/>
          </a:xfrm>
          <a:prstGeom prst="rect">
            <a:avLst/>
          </a:prstGeom>
          <a:noFill/>
          <a:ln w="635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algn="l"/>
            <a:endParaRPr lang="en-US" sz="1400" dirty="0">
              <a:solidFill>
                <a:schemeClr val="accent1"/>
              </a:solidFill>
            </a:endParaRPr>
          </a:p>
        </p:txBody>
      </p:sp>
      <p:cxnSp>
        <p:nvCxnSpPr>
          <p:cNvPr id="39" name="Gerader Verbinder 26">
            <a:extLst>
              <a:ext uri="{FF2B5EF4-FFF2-40B4-BE49-F238E27FC236}">
                <a16:creationId xmlns:a16="http://schemas.microsoft.com/office/drawing/2014/main" id="{5AEE7A3A-D4F7-3744-8BF4-2CE259D55F43}"/>
              </a:ext>
            </a:extLst>
          </p:cNvPr>
          <p:cNvCxnSpPr>
            <a:cxnSpLocks/>
          </p:cNvCxnSpPr>
          <p:nvPr userDrawn="1"/>
        </p:nvCxnSpPr>
        <p:spPr>
          <a:xfrm rot="5400000">
            <a:off x="5840181" y="-427147"/>
            <a:ext cx="21602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r Verbinder 26">
            <a:extLst>
              <a:ext uri="{FF2B5EF4-FFF2-40B4-BE49-F238E27FC236}">
                <a16:creationId xmlns:a16="http://schemas.microsoft.com/office/drawing/2014/main" id="{8663068A-1A13-DF45-8ECE-B29BE563937B}"/>
              </a:ext>
            </a:extLst>
          </p:cNvPr>
          <p:cNvCxnSpPr>
            <a:cxnSpLocks/>
          </p:cNvCxnSpPr>
          <p:nvPr userDrawn="1"/>
        </p:nvCxnSpPr>
        <p:spPr>
          <a:xfrm rot="5400000">
            <a:off x="6121535" y="-427147"/>
            <a:ext cx="21602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r Verbinder 26">
            <a:extLst>
              <a:ext uri="{FF2B5EF4-FFF2-40B4-BE49-F238E27FC236}">
                <a16:creationId xmlns:a16="http://schemas.microsoft.com/office/drawing/2014/main" id="{89115F56-AB99-F243-9A93-C86DCDEF355C}"/>
              </a:ext>
            </a:extLst>
          </p:cNvPr>
          <p:cNvCxnSpPr>
            <a:cxnSpLocks/>
          </p:cNvCxnSpPr>
          <p:nvPr userDrawn="1"/>
        </p:nvCxnSpPr>
        <p:spPr>
          <a:xfrm rot="5400000">
            <a:off x="5548779" y="-427147"/>
            <a:ext cx="21602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r Verbinder 29">
            <a:extLst>
              <a:ext uri="{FF2B5EF4-FFF2-40B4-BE49-F238E27FC236}">
                <a16:creationId xmlns:a16="http://schemas.microsoft.com/office/drawing/2014/main" id="{07680B28-CBBB-5A48-84CA-A462C45B41F5}"/>
              </a:ext>
            </a:extLst>
          </p:cNvPr>
          <p:cNvCxnSpPr>
            <a:cxnSpLocks/>
          </p:cNvCxnSpPr>
          <p:nvPr userDrawn="1"/>
        </p:nvCxnSpPr>
        <p:spPr>
          <a:xfrm rot="5400000">
            <a:off x="5545956" y="6989677"/>
            <a:ext cx="21602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r Verbinder 29">
            <a:extLst>
              <a:ext uri="{FF2B5EF4-FFF2-40B4-BE49-F238E27FC236}">
                <a16:creationId xmlns:a16="http://schemas.microsoft.com/office/drawing/2014/main" id="{77A3DCDE-0BA4-7947-A74E-EDC21C65BF5C}"/>
              </a:ext>
            </a:extLst>
          </p:cNvPr>
          <p:cNvCxnSpPr>
            <a:cxnSpLocks/>
          </p:cNvCxnSpPr>
          <p:nvPr userDrawn="1"/>
        </p:nvCxnSpPr>
        <p:spPr>
          <a:xfrm rot="5400000">
            <a:off x="5837358" y="6989677"/>
            <a:ext cx="21602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r Verbinder 29">
            <a:extLst>
              <a:ext uri="{FF2B5EF4-FFF2-40B4-BE49-F238E27FC236}">
                <a16:creationId xmlns:a16="http://schemas.microsoft.com/office/drawing/2014/main" id="{36BE8F08-8B0F-DE48-82F4-1FC285E42974}"/>
              </a:ext>
            </a:extLst>
          </p:cNvPr>
          <p:cNvCxnSpPr>
            <a:cxnSpLocks/>
          </p:cNvCxnSpPr>
          <p:nvPr userDrawn="1"/>
        </p:nvCxnSpPr>
        <p:spPr>
          <a:xfrm rot="5400000">
            <a:off x="6118712" y="6989677"/>
            <a:ext cx="21602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r Verbinder 31">
            <a:extLst>
              <a:ext uri="{FF2B5EF4-FFF2-40B4-BE49-F238E27FC236}">
                <a16:creationId xmlns:a16="http://schemas.microsoft.com/office/drawing/2014/main" id="{C0279826-2BC4-7B4B-86A7-6AD362F29A54}"/>
              </a:ext>
            </a:extLst>
          </p:cNvPr>
          <p:cNvCxnSpPr/>
          <p:nvPr userDrawn="1"/>
        </p:nvCxnSpPr>
        <p:spPr>
          <a:xfrm>
            <a:off x="12136288" y="615853"/>
            <a:ext cx="21602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r Verbinder 31">
            <a:extLst>
              <a:ext uri="{FF2B5EF4-FFF2-40B4-BE49-F238E27FC236}">
                <a16:creationId xmlns:a16="http://schemas.microsoft.com/office/drawing/2014/main" id="{5DA345E3-36FE-9242-A12F-4B6C1EA3A73B}"/>
              </a:ext>
            </a:extLst>
          </p:cNvPr>
          <p:cNvCxnSpPr/>
          <p:nvPr userDrawn="1"/>
        </p:nvCxnSpPr>
        <p:spPr>
          <a:xfrm>
            <a:off x="12136288" y="292003"/>
            <a:ext cx="21602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666F4D2-0BDC-2243-AF6A-034B191A478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93688" y="1373053"/>
            <a:ext cx="11338544" cy="45720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
Zweite Ebene
Dritte Ebene
Vierte Ebene
Fünfte Ebene</a:t>
            </a:r>
          </a:p>
        </p:txBody>
      </p:sp>
    </p:spTree>
    <p:extLst>
      <p:ext uri="{BB962C8B-B14F-4D97-AF65-F5344CB8AC3E}">
        <p14:creationId xmlns:p14="http://schemas.microsoft.com/office/powerpoint/2010/main" val="2860297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5" r:id="rId1"/>
    <p:sldLayoutId id="2147483899" r:id="rId2"/>
    <p:sldLayoutId id="2147483904" r:id="rId3"/>
    <p:sldLayoutId id="2147483905" r:id="rId4"/>
    <p:sldLayoutId id="2147483835" r:id="rId5"/>
    <p:sldLayoutId id="2147483909" r:id="rId6"/>
    <p:sldLayoutId id="2147483912" r:id="rId7"/>
    <p:sldLayoutId id="2147483878" r:id="rId8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bg1"/>
        </a:buClr>
        <a:buFont typeface="Wingdings" pitchFamily="2" charset="2"/>
        <a:buNone/>
        <a:defRPr lang="de-DE" sz="2000" kern="1200" dirty="0">
          <a:solidFill>
            <a:schemeClr val="bg1"/>
          </a:solidFill>
          <a:latin typeface="+mn-lt"/>
          <a:ea typeface="+mn-ea"/>
          <a:cs typeface="+mn-cs"/>
        </a:defRPr>
      </a:lvl1pPr>
      <a:lvl2pPr marL="27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bg1"/>
        </a:buClr>
        <a:buSzPct val="100000"/>
        <a:buFont typeface="Wingdings" pitchFamily="2" charset="2"/>
        <a:buChar char="§"/>
        <a:defRPr lang="de-DE" sz="2000" kern="1200" dirty="0">
          <a:solidFill>
            <a:schemeClr val="bg1"/>
          </a:solidFill>
          <a:latin typeface="+mn-lt"/>
          <a:ea typeface="+mn-ea"/>
          <a:cs typeface="+mn-cs"/>
        </a:defRPr>
      </a:lvl2pPr>
      <a:lvl3pPr marL="540000" indent="-270000" algn="l" defTabSz="914400" rtl="0" eaLnBrk="1" latinLnBrk="0" hangingPunct="1">
        <a:spcBef>
          <a:spcPts val="0"/>
        </a:spcBef>
        <a:spcAft>
          <a:spcPts val="900"/>
        </a:spcAft>
        <a:buClr>
          <a:schemeClr val="bg1"/>
        </a:buClr>
        <a:buSzPct val="100000"/>
        <a:buFont typeface="Wingdings" pitchFamily="2" charset="2"/>
        <a:buChar char="§"/>
        <a:defRPr lang="de-DE" sz="1600" kern="1200" dirty="0">
          <a:solidFill>
            <a:schemeClr val="bg1"/>
          </a:solidFill>
          <a:latin typeface="+mn-lt"/>
          <a:ea typeface="+mn-ea"/>
          <a:cs typeface="+mn-cs"/>
        </a:defRPr>
      </a:lvl3pPr>
      <a:lvl4pPr marL="810000" indent="-270000" algn="l" defTabSz="914400" rtl="0" eaLnBrk="1" latinLnBrk="0" hangingPunct="1">
        <a:spcBef>
          <a:spcPts val="0"/>
        </a:spcBef>
        <a:spcAft>
          <a:spcPts val="900"/>
        </a:spcAft>
        <a:buClr>
          <a:schemeClr val="bg1"/>
        </a:buClr>
        <a:buSzPct val="100000"/>
        <a:buFont typeface="Wingdings" pitchFamily="2" charset="2"/>
        <a:buChar char="§"/>
        <a:defRPr lang="de-DE" sz="1600" kern="1200" dirty="0">
          <a:solidFill>
            <a:schemeClr val="bg1"/>
          </a:solidFill>
          <a:latin typeface="+mn-lt"/>
          <a:ea typeface="+mn-ea"/>
          <a:cs typeface="+mn-cs"/>
        </a:defRPr>
      </a:lvl4pPr>
      <a:lvl5pPr marL="1080000" indent="-270000" algn="l" defTabSz="914400" rtl="0" eaLnBrk="1" latinLnBrk="0" hangingPunct="1">
        <a:spcBef>
          <a:spcPts val="0"/>
        </a:spcBef>
        <a:spcAft>
          <a:spcPts val="900"/>
        </a:spcAft>
        <a:buClr>
          <a:schemeClr val="bg1"/>
        </a:buClr>
        <a:buSzPct val="100000"/>
        <a:buFont typeface="Wingdings" pitchFamily="2" charset="2"/>
        <a:buChar char="§"/>
        <a:defRPr lang="de-DE" sz="1600" kern="1200" dirty="0">
          <a:solidFill>
            <a:schemeClr val="bg1"/>
          </a:solidFill>
          <a:latin typeface="+mn-lt"/>
          <a:ea typeface="+mn-ea"/>
          <a:cs typeface="+mn-cs"/>
        </a:defRPr>
      </a:lvl5pPr>
      <a:lvl6pPr marL="1350000" indent="-270000" algn="l" defTabSz="914400" rtl="0" eaLnBrk="1" latinLnBrk="0" hangingPunct="1">
        <a:spcBef>
          <a:spcPts val="0"/>
        </a:spcBef>
        <a:spcAft>
          <a:spcPts val="900"/>
        </a:spcAft>
        <a:buClr>
          <a:schemeClr val="bg1"/>
        </a:buClr>
        <a:buSzPct val="100000"/>
        <a:buFont typeface="Wingdings" pitchFamily="2" charset="2"/>
        <a:buChar char="§"/>
        <a:defRPr sz="1600" kern="1200">
          <a:solidFill>
            <a:schemeClr val="bg1"/>
          </a:solidFill>
          <a:latin typeface="+mn-lt"/>
          <a:ea typeface="+mn-ea"/>
          <a:cs typeface="+mn-cs"/>
        </a:defRPr>
      </a:lvl6pPr>
      <a:lvl7pPr marL="1620000" indent="-270000" algn="l" defTabSz="914400" rtl="0" eaLnBrk="1" latinLnBrk="0" hangingPunct="1">
        <a:spcBef>
          <a:spcPts val="0"/>
        </a:spcBef>
        <a:spcAft>
          <a:spcPts val="900"/>
        </a:spcAft>
        <a:buClr>
          <a:schemeClr val="bg1"/>
        </a:buClr>
        <a:buSzPct val="100000"/>
        <a:buFont typeface="Wingdings" pitchFamily="2" charset="2"/>
        <a:buChar char="§"/>
        <a:defRPr sz="1600" kern="1200">
          <a:solidFill>
            <a:schemeClr val="bg1"/>
          </a:solidFill>
          <a:latin typeface="+mn-lt"/>
          <a:ea typeface="+mn-ea"/>
          <a:cs typeface="+mn-cs"/>
        </a:defRPr>
      </a:lvl7pPr>
      <a:lvl8pPr marL="2016000" indent="-288000" algn="l" defTabSz="914400" rtl="0" eaLnBrk="1" latinLnBrk="0" hangingPunct="1">
        <a:spcBef>
          <a:spcPts val="600"/>
        </a:spcBef>
        <a:buClr>
          <a:schemeClr val="tx1"/>
        </a:buClr>
        <a:buSzPct val="100000"/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2304000" indent="-288000" algn="l" defTabSz="914400" rtl="0" eaLnBrk="1" latinLnBrk="0" hangingPunct="1">
        <a:spcBef>
          <a:spcPts val="600"/>
        </a:spcBef>
        <a:buClr>
          <a:schemeClr val="tx1"/>
        </a:buClr>
        <a:buSzPct val="100000"/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80">
          <p15:clr>
            <a:srgbClr val="F26B43"/>
          </p15:clr>
        </p15:guide>
        <p15:guide id="2" pos="7424">
          <p15:clr>
            <a:srgbClr val="F26B43"/>
          </p15:clr>
        </p15:guide>
        <p15:guide id="4" orient="horz" pos="958">
          <p15:clr>
            <a:srgbClr val="F26B43"/>
          </p15:clr>
        </p15:guide>
        <p15:guide id="9" orient="horz" pos="3838">
          <p15:clr>
            <a:srgbClr val="F26B43"/>
          </p15:clr>
        </p15:guide>
        <p15:guide id="10" orient="horz" pos="709">
          <p15:clr>
            <a:srgbClr val="F26B43"/>
          </p15:clr>
        </p15:guide>
        <p15:guide id="11" orient="horz" pos="482">
          <p15:clr>
            <a:srgbClr val="F26B43"/>
          </p15:clr>
        </p15:guide>
        <p15:guide id="12" pos="3659">
          <p15:clr>
            <a:srgbClr val="F26B43"/>
          </p15:clr>
        </p15:guide>
        <p15:guide id="13" pos="3841" userDrawn="1">
          <p15:clr>
            <a:srgbClr val="F26B43"/>
          </p15:clr>
        </p15:guide>
        <p15:guide id="14" pos="4022">
          <p15:clr>
            <a:srgbClr val="F26B43"/>
          </p15:clr>
        </p15:guide>
        <p15:guide id="15" orient="horz" pos="278">
          <p15:clr>
            <a:srgbClr val="F26B43"/>
          </p15:clr>
        </p15:guide>
        <p15:guide id="16" orient="horz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CC71F77F-F1D8-4F20-ADA8-4C3C1B00BD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021" name="think-cell Folie" r:id="rId6" imgW="306" imgH="306" progId="TCLayout.ActiveDocument.1">
                  <p:embed/>
                </p:oleObj>
              </mc:Choice>
              <mc:Fallback>
                <p:oleObj name="think-cell Folie" r:id="rId6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CC71F77F-F1D8-4F20-ADA8-4C3C1B00BD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" name="Freihandform: Form 58">
            <a:extLst>
              <a:ext uri="{FF2B5EF4-FFF2-40B4-BE49-F238E27FC236}">
                <a16:creationId xmlns:a16="http://schemas.microsoft.com/office/drawing/2014/main" id="{0E65FE95-DBDA-456A-953F-F252A00B77CF}"/>
              </a:ext>
            </a:extLst>
          </p:cNvPr>
          <p:cNvSpPr/>
          <p:nvPr userDrawn="1"/>
        </p:nvSpPr>
        <p:spPr>
          <a:xfrm>
            <a:off x="12193201" y="5751248"/>
            <a:ext cx="389" cy="1106753"/>
          </a:xfrm>
          <a:custGeom>
            <a:avLst/>
            <a:gdLst>
              <a:gd name="connsiteX0" fmla="*/ 0 w 389"/>
              <a:gd name="connsiteY0" fmla="*/ 0 h 1106753"/>
              <a:gd name="connsiteX1" fmla="*/ 388 w 389"/>
              <a:gd name="connsiteY1" fmla="*/ 80 h 1106753"/>
              <a:gd name="connsiteX2" fmla="*/ 388 w 389"/>
              <a:gd name="connsiteY2" fmla="*/ 80 h 1106753"/>
              <a:gd name="connsiteX3" fmla="*/ 389 w 389"/>
              <a:gd name="connsiteY3" fmla="*/ 80 h 1106753"/>
              <a:gd name="connsiteX4" fmla="*/ 389 w 389"/>
              <a:gd name="connsiteY4" fmla="*/ 1106753 h 1106753"/>
              <a:gd name="connsiteX5" fmla="*/ 0 w 389"/>
              <a:gd name="connsiteY5" fmla="*/ 1106753 h 1106753"/>
              <a:gd name="connsiteX6" fmla="*/ 0 w 389"/>
              <a:gd name="connsiteY6" fmla="*/ 0 h 11067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89" h="1106753">
                <a:moveTo>
                  <a:pt x="0" y="0"/>
                </a:moveTo>
                <a:lnTo>
                  <a:pt x="388" y="80"/>
                </a:lnTo>
                <a:lnTo>
                  <a:pt x="388" y="80"/>
                </a:lnTo>
                <a:lnTo>
                  <a:pt x="389" y="80"/>
                </a:lnTo>
                <a:lnTo>
                  <a:pt x="389" y="1106753"/>
                </a:lnTo>
                <a:lnTo>
                  <a:pt x="0" y="1106753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alpha val="21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t">
            <a:noAutofit/>
          </a:bodyPr>
          <a:lstStyle/>
          <a:p>
            <a:pPr algn="l"/>
            <a:endParaRPr lang="de-DE" sz="1400" dirty="0">
              <a:solidFill>
                <a:schemeClr val="accent1"/>
              </a:solidFill>
            </a:endParaRPr>
          </a:p>
        </p:txBody>
      </p:sp>
      <p:sp>
        <p:nvSpPr>
          <p:cNvPr id="2" name="Titelplatzhalter 1"/>
          <p:cNvSpPr>
            <a:spLocks noGrp="1"/>
          </p:cNvSpPr>
          <p:nvPr userDrawn="1">
            <p:ph type="title"/>
          </p:nvPr>
        </p:nvSpPr>
        <p:spPr>
          <a:xfrm>
            <a:off x="444500" y="441324"/>
            <a:ext cx="11340926" cy="68341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/>
              <a:t>Headli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 userDrawn="1">
            <p:ph type="dt" sz="half" idx="2"/>
          </p:nvPr>
        </p:nvSpPr>
        <p:spPr>
          <a:xfrm>
            <a:off x="10759362" y="6449039"/>
            <a:ext cx="648000" cy="14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tx1"/>
                </a:solidFill>
              </a:defRPr>
            </a:lvl1pPr>
            <a:lvl2pPr marL="0" indent="0">
              <a:defRPr sz="900">
                <a:solidFill>
                  <a:schemeClr val="tx2">
                    <a:lumMod val="20000"/>
                    <a:lumOff val="80000"/>
                  </a:schemeClr>
                </a:solidFill>
              </a:defRPr>
            </a:lvl2pPr>
            <a:lvl3pPr marL="0" indent="0">
              <a:defRPr sz="900">
                <a:solidFill>
                  <a:schemeClr val="tx2">
                    <a:lumMod val="20000"/>
                    <a:lumOff val="80000"/>
                  </a:schemeClr>
                </a:solidFill>
              </a:defRPr>
            </a:lvl3pPr>
            <a:lvl4pPr marL="0" indent="0">
              <a:defRPr sz="900">
                <a:solidFill>
                  <a:schemeClr val="tx2">
                    <a:lumMod val="20000"/>
                    <a:lumOff val="80000"/>
                  </a:schemeClr>
                </a:solidFill>
              </a:defRPr>
            </a:lvl4pPr>
            <a:lvl5pPr marL="0" indent="0">
              <a:defRPr sz="900">
                <a:solidFill>
                  <a:schemeClr val="tx2">
                    <a:lumMod val="20000"/>
                    <a:lumOff val="80000"/>
                  </a:schemeClr>
                </a:solidFill>
              </a:defRPr>
            </a:lvl5pPr>
            <a:lvl6pPr marL="0" indent="0">
              <a:defRPr sz="900">
                <a:solidFill>
                  <a:schemeClr val="tx2">
                    <a:lumMod val="20000"/>
                    <a:lumOff val="80000"/>
                  </a:schemeClr>
                </a:solidFill>
              </a:defRPr>
            </a:lvl6pPr>
            <a:lvl7pPr marL="0" indent="0">
              <a:defRPr sz="900">
                <a:solidFill>
                  <a:schemeClr val="tx2">
                    <a:lumMod val="20000"/>
                    <a:lumOff val="80000"/>
                  </a:schemeClr>
                </a:solidFill>
              </a:defRPr>
            </a:lvl7pPr>
            <a:lvl8pPr marL="0" indent="0">
              <a:defRPr sz="900">
                <a:solidFill>
                  <a:schemeClr val="tx2">
                    <a:lumMod val="20000"/>
                    <a:lumOff val="80000"/>
                  </a:schemeClr>
                </a:solidFill>
              </a:defRPr>
            </a:lvl8pPr>
            <a:lvl9pPr marL="0" indent="0">
              <a:defRPr sz="900">
                <a:solidFill>
                  <a:schemeClr val="tx2">
                    <a:lumMod val="20000"/>
                    <a:lumOff val="80000"/>
                  </a:schemeClr>
                </a:solidFill>
              </a:defRPr>
            </a:lvl9pPr>
          </a:lstStyle>
          <a:p>
            <a:fld id="{6F67E2F8-1D13-49A1-BBB2-A606A739E4A6}" type="datetime1">
              <a:rPr lang="de-DE" smtClean="0"/>
              <a:t>05.08.2020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641298" y="6448943"/>
            <a:ext cx="7992000" cy="144096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 algn="r">
              <a:defRPr sz="900">
                <a:solidFill>
                  <a:schemeClr val="tx1"/>
                </a:solidFill>
              </a:defRPr>
            </a:lvl1pPr>
            <a:lvl2pPr marL="0" indent="0">
              <a:defRPr sz="900">
                <a:solidFill>
                  <a:schemeClr val="tx2">
                    <a:lumMod val="20000"/>
                    <a:lumOff val="80000"/>
                  </a:schemeClr>
                </a:solidFill>
              </a:defRPr>
            </a:lvl2pPr>
            <a:lvl3pPr marL="0" indent="0">
              <a:defRPr sz="900">
                <a:solidFill>
                  <a:schemeClr val="tx2">
                    <a:lumMod val="20000"/>
                    <a:lumOff val="80000"/>
                  </a:schemeClr>
                </a:solidFill>
              </a:defRPr>
            </a:lvl3pPr>
            <a:lvl4pPr marL="0" indent="0">
              <a:defRPr sz="900">
                <a:solidFill>
                  <a:schemeClr val="tx2">
                    <a:lumMod val="20000"/>
                    <a:lumOff val="80000"/>
                  </a:schemeClr>
                </a:solidFill>
              </a:defRPr>
            </a:lvl4pPr>
            <a:lvl5pPr marL="0" indent="0">
              <a:defRPr sz="900">
                <a:solidFill>
                  <a:schemeClr val="tx2">
                    <a:lumMod val="20000"/>
                    <a:lumOff val="80000"/>
                  </a:schemeClr>
                </a:solidFill>
              </a:defRPr>
            </a:lvl5pPr>
            <a:lvl6pPr marL="0" indent="0">
              <a:defRPr sz="900">
                <a:solidFill>
                  <a:schemeClr val="tx2">
                    <a:lumMod val="20000"/>
                    <a:lumOff val="80000"/>
                  </a:schemeClr>
                </a:solidFill>
              </a:defRPr>
            </a:lvl6pPr>
            <a:lvl7pPr marL="0" indent="0">
              <a:defRPr sz="900">
                <a:solidFill>
                  <a:schemeClr val="tx2">
                    <a:lumMod val="20000"/>
                    <a:lumOff val="80000"/>
                  </a:schemeClr>
                </a:solidFill>
              </a:defRPr>
            </a:lvl7pPr>
            <a:lvl8pPr marL="0" indent="0">
              <a:defRPr sz="900">
                <a:solidFill>
                  <a:schemeClr val="tx2">
                    <a:lumMod val="20000"/>
                    <a:lumOff val="80000"/>
                  </a:schemeClr>
                </a:solidFill>
              </a:defRPr>
            </a:lvl8pPr>
            <a:lvl9pPr marL="0" indent="0">
              <a:defRPr sz="900">
                <a:solidFill>
                  <a:schemeClr val="tx2">
                    <a:lumMod val="20000"/>
                    <a:lumOff val="80000"/>
                  </a:schemeClr>
                </a:solidFill>
              </a:defRPr>
            </a:lvl9pPr>
          </a:lstStyle>
          <a:p>
            <a:r>
              <a:rPr lang="de-DE"/>
              <a:t>© TecAlliance GmbH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4"/>
          </p:nvPr>
        </p:nvSpPr>
        <p:spPr>
          <a:xfrm>
            <a:off x="11533426" y="6449039"/>
            <a:ext cx="252000" cy="14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lang="de-DE" sz="900" smtClean="0">
                <a:solidFill>
                  <a:schemeClr val="tx1"/>
                </a:solidFill>
              </a:defRPr>
            </a:lvl1pPr>
          </a:lstStyle>
          <a:p>
            <a:fld id="{CE82B8A1-0CCE-4815-9668-383D7DE7D8B4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705261CC-1CC6-4991-910F-238C8FC8F0C2}"/>
              </a:ext>
            </a:extLst>
          </p:cNvPr>
          <p:cNvCxnSpPr/>
          <p:nvPr userDrawn="1"/>
        </p:nvCxnSpPr>
        <p:spPr>
          <a:xfrm>
            <a:off x="-332075" y="1124744"/>
            <a:ext cx="21602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B4469CB0-9392-4484-A8F6-E63F17B82FA6}"/>
              </a:ext>
            </a:extLst>
          </p:cNvPr>
          <p:cNvCxnSpPr/>
          <p:nvPr userDrawn="1"/>
        </p:nvCxnSpPr>
        <p:spPr>
          <a:xfrm>
            <a:off x="-332075" y="1520788"/>
            <a:ext cx="21602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A1E24140-9226-46B4-BFF0-02F7D5C47F2A}"/>
              </a:ext>
            </a:extLst>
          </p:cNvPr>
          <p:cNvCxnSpPr/>
          <p:nvPr userDrawn="1"/>
        </p:nvCxnSpPr>
        <p:spPr>
          <a:xfrm>
            <a:off x="-311918" y="6092825"/>
            <a:ext cx="21602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8FB06E7B-EFB4-41F8-8BD6-A84D902C45F8}"/>
              </a:ext>
            </a:extLst>
          </p:cNvPr>
          <p:cNvCxnSpPr>
            <a:cxnSpLocks/>
          </p:cNvCxnSpPr>
          <p:nvPr userDrawn="1"/>
        </p:nvCxnSpPr>
        <p:spPr>
          <a:xfrm rot="5400000">
            <a:off x="336153" y="-279412"/>
            <a:ext cx="21602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B71DD7B3-C266-4D60-A24C-9F2079B4A758}"/>
              </a:ext>
            </a:extLst>
          </p:cNvPr>
          <p:cNvCxnSpPr>
            <a:cxnSpLocks/>
          </p:cNvCxnSpPr>
          <p:nvPr userDrawn="1"/>
        </p:nvCxnSpPr>
        <p:spPr>
          <a:xfrm rot="5400000">
            <a:off x="11677414" y="-279412"/>
            <a:ext cx="21602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B8B71820-993F-4012-AB22-99E4AAA9348D}"/>
              </a:ext>
            </a:extLst>
          </p:cNvPr>
          <p:cNvCxnSpPr>
            <a:cxnSpLocks/>
          </p:cNvCxnSpPr>
          <p:nvPr userDrawn="1"/>
        </p:nvCxnSpPr>
        <p:spPr>
          <a:xfrm rot="5400000">
            <a:off x="330678" y="7137412"/>
            <a:ext cx="21602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1716DE95-097E-4F8F-9D05-991D0DC39965}"/>
              </a:ext>
            </a:extLst>
          </p:cNvPr>
          <p:cNvCxnSpPr>
            <a:cxnSpLocks/>
          </p:cNvCxnSpPr>
          <p:nvPr userDrawn="1"/>
        </p:nvCxnSpPr>
        <p:spPr>
          <a:xfrm rot="5400000">
            <a:off x="11677414" y="7137412"/>
            <a:ext cx="21602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E9D49E71-A589-4304-90EB-E48A1C42C439}"/>
              </a:ext>
            </a:extLst>
          </p:cNvPr>
          <p:cNvCxnSpPr/>
          <p:nvPr userDrawn="1"/>
        </p:nvCxnSpPr>
        <p:spPr>
          <a:xfrm>
            <a:off x="12289482" y="1125538"/>
            <a:ext cx="21602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979D7E27-6F6A-4B45-8A6E-F2BAC0FFCF7A}"/>
              </a:ext>
            </a:extLst>
          </p:cNvPr>
          <p:cNvCxnSpPr/>
          <p:nvPr userDrawn="1"/>
        </p:nvCxnSpPr>
        <p:spPr>
          <a:xfrm>
            <a:off x="12289482" y="1520788"/>
            <a:ext cx="21602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7E99A030-0B35-476C-B5DA-C0EBA7B5384B}"/>
              </a:ext>
            </a:extLst>
          </p:cNvPr>
          <p:cNvCxnSpPr/>
          <p:nvPr userDrawn="1"/>
        </p:nvCxnSpPr>
        <p:spPr>
          <a:xfrm>
            <a:off x="12289482" y="6092825"/>
            <a:ext cx="21602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D1DC3640-A0B4-4C17-8010-ACB5E42D2A93}"/>
              </a:ext>
            </a:extLst>
          </p:cNvPr>
          <p:cNvCxnSpPr>
            <a:cxnSpLocks/>
          </p:cNvCxnSpPr>
          <p:nvPr userDrawn="1"/>
        </p:nvCxnSpPr>
        <p:spPr>
          <a:xfrm>
            <a:off x="-332075" y="440668"/>
            <a:ext cx="21602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VCT_Marker_ID_8" hidden="1">
            <a:extLst>
              <a:ext uri="{FF2B5EF4-FFF2-40B4-BE49-F238E27FC236}">
                <a16:creationId xmlns:a16="http://schemas.microsoft.com/office/drawing/2014/main" id="{F3EE0F3D-E972-4D5D-AE2F-EB498D4A6F59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1270000" y="127000"/>
            <a:ext cx="127000" cy="127000"/>
          </a:xfrm>
          <a:prstGeom prst="rect">
            <a:avLst/>
          </a:prstGeom>
          <a:noFill/>
          <a:ln w="635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algn="l"/>
            <a:endParaRPr lang="en-US" sz="1400" dirty="0">
              <a:solidFill>
                <a:schemeClr val="accent1"/>
              </a:solidFill>
            </a:endParaRPr>
          </a:p>
        </p:txBody>
      </p:sp>
      <p:cxnSp>
        <p:nvCxnSpPr>
          <p:cNvPr id="39" name="Gerader Verbinder 26">
            <a:extLst>
              <a:ext uri="{FF2B5EF4-FFF2-40B4-BE49-F238E27FC236}">
                <a16:creationId xmlns:a16="http://schemas.microsoft.com/office/drawing/2014/main" id="{5AEE7A3A-D4F7-3744-8BF4-2CE259D55F43}"/>
              </a:ext>
            </a:extLst>
          </p:cNvPr>
          <p:cNvCxnSpPr>
            <a:cxnSpLocks/>
          </p:cNvCxnSpPr>
          <p:nvPr userDrawn="1"/>
        </p:nvCxnSpPr>
        <p:spPr>
          <a:xfrm rot="5400000">
            <a:off x="5993375" y="-279412"/>
            <a:ext cx="21602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r Verbinder 26">
            <a:extLst>
              <a:ext uri="{FF2B5EF4-FFF2-40B4-BE49-F238E27FC236}">
                <a16:creationId xmlns:a16="http://schemas.microsoft.com/office/drawing/2014/main" id="{8663068A-1A13-DF45-8ECE-B29BE563937B}"/>
              </a:ext>
            </a:extLst>
          </p:cNvPr>
          <p:cNvCxnSpPr>
            <a:cxnSpLocks/>
          </p:cNvCxnSpPr>
          <p:nvPr userDrawn="1"/>
        </p:nvCxnSpPr>
        <p:spPr>
          <a:xfrm rot="5400000">
            <a:off x="6274729" y="-279412"/>
            <a:ext cx="21602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r Verbinder 26">
            <a:extLst>
              <a:ext uri="{FF2B5EF4-FFF2-40B4-BE49-F238E27FC236}">
                <a16:creationId xmlns:a16="http://schemas.microsoft.com/office/drawing/2014/main" id="{89115F56-AB99-F243-9A93-C86DCDEF355C}"/>
              </a:ext>
            </a:extLst>
          </p:cNvPr>
          <p:cNvCxnSpPr>
            <a:cxnSpLocks/>
          </p:cNvCxnSpPr>
          <p:nvPr userDrawn="1"/>
        </p:nvCxnSpPr>
        <p:spPr>
          <a:xfrm rot="5400000">
            <a:off x="5701973" y="-279412"/>
            <a:ext cx="21602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r Verbinder 29">
            <a:extLst>
              <a:ext uri="{FF2B5EF4-FFF2-40B4-BE49-F238E27FC236}">
                <a16:creationId xmlns:a16="http://schemas.microsoft.com/office/drawing/2014/main" id="{07680B28-CBBB-5A48-84CA-A462C45B41F5}"/>
              </a:ext>
            </a:extLst>
          </p:cNvPr>
          <p:cNvCxnSpPr>
            <a:cxnSpLocks/>
          </p:cNvCxnSpPr>
          <p:nvPr userDrawn="1"/>
        </p:nvCxnSpPr>
        <p:spPr>
          <a:xfrm rot="5400000">
            <a:off x="5699150" y="7137412"/>
            <a:ext cx="21602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r Verbinder 29">
            <a:extLst>
              <a:ext uri="{FF2B5EF4-FFF2-40B4-BE49-F238E27FC236}">
                <a16:creationId xmlns:a16="http://schemas.microsoft.com/office/drawing/2014/main" id="{77A3DCDE-0BA4-7947-A74E-EDC21C65BF5C}"/>
              </a:ext>
            </a:extLst>
          </p:cNvPr>
          <p:cNvCxnSpPr>
            <a:cxnSpLocks/>
          </p:cNvCxnSpPr>
          <p:nvPr userDrawn="1"/>
        </p:nvCxnSpPr>
        <p:spPr>
          <a:xfrm rot="5400000">
            <a:off x="5990552" y="7137412"/>
            <a:ext cx="21602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r Verbinder 29">
            <a:extLst>
              <a:ext uri="{FF2B5EF4-FFF2-40B4-BE49-F238E27FC236}">
                <a16:creationId xmlns:a16="http://schemas.microsoft.com/office/drawing/2014/main" id="{36BE8F08-8B0F-DE48-82F4-1FC285E42974}"/>
              </a:ext>
            </a:extLst>
          </p:cNvPr>
          <p:cNvCxnSpPr>
            <a:cxnSpLocks/>
          </p:cNvCxnSpPr>
          <p:nvPr userDrawn="1"/>
        </p:nvCxnSpPr>
        <p:spPr>
          <a:xfrm rot="5400000">
            <a:off x="6271906" y="7137412"/>
            <a:ext cx="21602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r Verbinder 31">
            <a:extLst>
              <a:ext uri="{FF2B5EF4-FFF2-40B4-BE49-F238E27FC236}">
                <a16:creationId xmlns:a16="http://schemas.microsoft.com/office/drawing/2014/main" id="{C0279826-2BC4-7B4B-86A7-6AD362F29A54}"/>
              </a:ext>
            </a:extLst>
          </p:cNvPr>
          <p:cNvCxnSpPr/>
          <p:nvPr userDrawn="1"/>
        </p:nvCxnSpPr>
        <p:spPr>
          <a:xfrm>
            <a:off x="12289482" y="763588"/>
            <a:ext cx="21602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r Verbinder 31">
            <a:extLst>
              <a:ext uri="{FF2B5EF4-FFF2-40B4-BE49-F238E27FC236}">
                <a16:creationId xmlns:a16="http://schemas.microsoft.com/office/drawing/2014/main" id="{5DA345E3-36FE-9242-A12F-4B6C1EA3A73B}"/>
              </a:ext>
            </a:extLst>
          </p:cNvPr>
          <p:cNvCxnSpPr/>
          <p:nvPr userDrawn="1"/>
        </p:nvCxnSpPr>
        <p:spPr>
          <a:xfrm>
            <a:off x="12289482" y="439738"/>
            <a:ext cx="21602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B2FDA75-FC6B-4C4C-A422-830185AAE47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4500" y="1520788"/>
            <a:ext cx="11340926" cy="45720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
Zweite Ebene
Dritte Ebene
Vierte Ebene
Fünfte Ebene</a:t>
            </a:r>
          </a:p>
        </p:txBody>
      </p:sp>
      <p:pic>
        <p:nvPicPr>
          <p:cNvPr id="36" name="Grafik 35">
            <a:extLst>
              <a:ext uri="{FF2B5EF4-FFF2-40B4-BE49-F238E27FC236}">
                <a16:creationId xmlns:a16="http://schemas.microsoft.com/office/drawing/2014/main" id="{F4F769F9-1E75-DB46-A68D-CD97143BE9FF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004" y="6349614"/>
            <a:ext cx="1409632" cy="283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16475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6" r:id="rId1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1"/>
        </a:buClr>
        <a:buFont typeface="Wingdings" pitchFamily="2" charset="2"/>
        <a:buNone/>
        <a:defRPr lang="de-DE" sz="200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27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1"/>
        </a:buClr>
        <a:buSzPct val="100000"/>
        <a:buFont typeface="Wingdings" pitchFamily="2" charset="2"/>
        <a:buChar char="§"/>
        <a:defRPr lang="de-DE" sz="20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1"/>
        </a:buClr>
        <a:buSzPct val="100000"/>
        <a:buFont typeface="Wingdings" pitchFamily="2" charset="2"/>
        <a:buChar char="§"/>
        <a:defRPr lang="de-DE" sz="16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81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1"/>
        </a:buClr>
        <a:buSzPct val="100000"/>
        <a:buFont typeface="Wingdings" pitchFamily="2" charset="2"/>
        <a:buChar char="§"/>
        <a:defRPr lang="de-DE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108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1"/>
        </a:buClr>
        <a:buSzPct val="100000"/>
        <a:buFont typeface="Wingdings" pitchFamily="2" charset="2"/>
        <a:buChar char="§"/>
        <a:defRPr lang="de-DE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350000" indent="-270000" algn="l" defTabSz="914400" rtl="0" eaLnBrk="1" latinLnBrk="0" hangingPunct="1">
        <a:spcBef>
          <a:spcPts val="0"/>
        </a:spcBef>
        <a:spcAft>
          <a:spcPts val="900"/>
        </a:spcAft>
        <a:buClr>
          <a:schemeClr val="tx1"/>
        </a:buClr>
        <a:buSzPct val="100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620000" indent="-270000" algn="l" defTabSz="914400" rtl="0" eaLnBrk="1" latinLnBrk="0" hangingPunct="1">
        <a:spcBef>
          <a:spcPts val="0"/>
        </a:spcBef>
        <a:spcAft>
          <a:spcPts val="900"/>
        </a:spcAft>
        <a:buClr>
          <a:schemeClr val="tx1"/>
        </a:buClr>
        <a:buSzPct val="100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016000" indent="-288000" algn="l" defTabSz="914400" rtl="0" eaLnBrk="1" latinLnBrk="0" hangingPunct="1">
        <a:spcBef>
          <a:spcPts val="600"/>
        </a:spcBef>
        <a:buClr>
          <a:schemeClr val="tx1"/>
        </a:buClr>
        <a:buSzPct val="100000"/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2304000" indent="-288000" algn="l" defTabSz="914400" rtl="0" eaLnBrk="1" latinLnBrk="0" hangingPunct="1">
        <a:spcBef>
          <a:spcPts val="600"/>
        </a:spcBef>
        <a:buClr>
          <a:schemeClr val="tx1"/>
        </a:buClr>
        <a:buSzPct val="100000"/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80">
          <p15:clr>
            <a:srgbClr val="F26B43"/>
          </p15:clr>
        </p15:guide>
        <p15:guide id="2" pos="7424">
          <p15:clr>
            <a:srgbClr val="F26B43"/>
          </p15:clr>
        </p15:guide>
        <p15:guide id="4" orient="horz" pos="958">
          <p15:clr>
            <a:srgbClr val="F26B43"/>
          </p15:clr>
        </p15:guide>
        <p15:guide id="9" orient="horz" pos="3838">
          <p15:clr>
            <a:srgbClr val="F26B43"/>
          </p15:clr>
        </p15:guide>
        <p15:guide id="10" orient="horz" pos="709">
          <p15:clr>
            <a:srgbClr val="F26B43"/>
          </p15:clr>
        </p15:guide>
        <p15:guide id="11" orient="horz" pos="482">
          <p15:clr>
            <a:srgbClr val="F26B43"/>
          </p15:clr>
        </p15:guide>
        <p15:guide id="12" pos="3659">
          <p15:clr>
            <a:srgbClr val="F26B43"/>
          </p15:clr>
        </p15:guide>
        <p15:guide id="13" pos="3840">
          <p15:clr>
            <a:srgbClr val="F26B43"/>
          </p15:clr>
        </p15:guide>
        <p15:guide id="14" pos="4022">
          <p15:clr>
            <a:srgbClr val="F26B43"/>
          </p15:clr>
        </p15:guide>
        <p15:guide id="15" orient="horz" pos="278">
          <p15:clr>
            <a:srgbClr val="F26B43"/>
          </p15:clr>
        </p15:guide>
        <p15:guide id="16" orient="horz" pos="5" userDrawn="1">
          <p15:clr>
            <a:srgbClr val="F26B43"/>
          </p15:clr>
        </p15:guide>
        <p15:guide id="17" orient="horz" pos="120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DD80E15-0161-F548-ABB2-4E3B62FEBE5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Country </a:t>
            </a:r>
            <a:r>
              <a:rPr lang="de-DE" dirty="0" err="1"/>
              <a:t>addition</a:t>
            </a:r>
            <a:endParaRPr lang="de-DE" sz="4000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A3C5F459-E375-E84C-A9B4-9802983264E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1687" y="5769730"/>
            <a:ext cx="5943237" cy="395574"/>
          </a:xfrm>
        </p:spPr>
        <p:txBody>
          <a:bodyPr/>
          <a:lstStyle/>
          <a:p>
            <a:endParaRPr lang="de-DE" sz="2400" dirty="0"/>
          </a:p>
        </p:txBody>
      </p:sp>
      <p:pic>
        <p:nvPicPr>
          <p:cNvPr id="8" name="Bildplatzhalter 7">
            <a:extLst>
              <a:ext uri="{FF2B5EF4-FFF2-40B4-BE49-F238E27FC236}">
                <a16:creationId xmlns:a16="http://schemas.microsoft.com/office/drawing/2014/main" id="{E311BFCB-B7C0-E342-8160-C968EC961DA2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70"/>
          <a:stretch/>
        </p:blipFill>
        <p:spPr>
          <a:xfrm>
            <a:off x="-1" y="0"/>
            <a:ext cx="12192516" cy="6118032"/>
          </a:xfrm>
        </p:spPr>
      </p:pic>
    </p:spTree>
    <p:extLst>
      <p:ext uri="{BB962C8B-B14F-4D97-AF65-F5344CB8AC3E}">
        <p14:creationId xmlns:p14="http://schemas.microsoft.com/office/powerpoint/2010/main" val="29549488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el 13">
            <a:extLst>
              <a:ext uri="{FF2B5EF4-FFF2-40B4-BE49-F238E27FC236}">
                <a16:creationId xmlns:a16="http://schemas.microsoft.com/office/drawing/2014/main" id="{DF24ED65-51F8-0046-8604-91591CBA60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3200" dirty="0"/>
              <a:t>Agenda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0BC4687D-85EB-9142-AB3B-92563A20256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/>
              <a:t>One</a:t>
            </a:r>
            <a:r>
              <a:rPr lang="de-DE" dirty="0"/>
              <a:t> </a:t>
            </a:r>
            <a:r>
              <a:rPr lang="de-DE" dirty="0" err="1"/>
              <a:t>model</a:t>
            </a:r>
            <a:r>
              <a:rPr lang="de-DE" dirty="0"/>
              <a:t> </a:t>
            </a:r>
            <a:r>
              <a:rPr lang="de-DE" dirty="0" err="1"/>
              <a:t>name</a:t>
            </a:r>
            <a:endParaRPr lang="de-DE" dirty="0"/>
          </a:p>
          <a:p>
            <a:pPr lvl="1"/>
            <a:r>
              <a:rPr lang="de-DE" dirty="0" err="1"/>
              <a:t>Without</a:t>
            </a:r>
            <a:r>
              <a:rPr lang="de-DE" dirty="0"/>
              <a:t> websitecheck</a:t>
            </a:r>
          </a:p>
          <a:p>
            <a:pPr lvl="1"/>
            <a:r>
              <a:rPr lang="de-DE" dirty="0" err="1"/>
              <a:t>With</a:t>
            </a:r>
            <a:r>
              <a:rPr lang="de-DE" dirty="0"/>
              <a:t> websitecheck</a:t>
            </a:r>
            <a:endParaRPr lang="de-DE" sz="2000" dirty="0"/>
          </a:p>
          <a:p>
            <a:r>
              <a:rPr lang="de-DE" dirty="0"/>
              <a:t>Multiple </a:t>
            </a:r>
            <a:r>
              <a:rPr lang="de-DE" dirty="0" err="1"/>
              <a:t>model</a:t>
            </a:r>
            <a:r>
              <a:rPr lang="de-DE" dirty="0"/>
              <a:t> </a:t>
            </a:r>
            <a:r>
              <a:rPr lang="de-DE" dirty="0" err="1"/>
              <a:t>names</a:t>
            </a:r>
            <a:endParaRPr lang="de-DE" dirty="0"/>
          </a:p>
          <a:p>
            <a:pPr lvl="1"/>
            <a:r>
              <a:rPr lang="de-DE" dirty="0" err="1"/>
              <a:t>Without</a:t>
            </a:r>
            <a:r>
              <a:rPr lang="de-DE" dirty="0"/>
              <a:t> websitecheck</a:t>
            </a:r>
          </a:p>
          <a:p>
            <a:pPr lvl="1"/>
            <a:r>
              <a:rPr lang="de-DE" dirty="0" err="1"/>
              <a:t>With</a:t>
            </a:r>
            <a:r>
              <a:rPr lang="de-DE" dirty="0"/>
              <a:t> websitecheck</a:t>
            </a:r>
          </a:p>
          <a:p>
            <a:pPr marL="0" indent="0">
              <a:buNone/>
            </a:pPr>
            <a:endParaRPr lang="de-DE" dirty="0"/>
          </a:p>
          <a:p>
            <a:pPr lvl="4"/>
            <a:endParaRPr lang="de-DE" dirty="0"/>
          </a:p>
        </p:txBody>
      </p:sp>
      <p:sp>
        <p:nvSpPr>
          <p:cNvPr id="15" name="Datumsplatzhalter 14">
            <a:extLst>
              <a:ext uri="{FF2B5EF4-FFF2-40B4-BE49-F238E27FC236}">
                <a16:creationId xmlns:a16="http://schemas.microsoft.com/office/drawing/2014/main" id="{EC1E7EFA-E5A7-C244-B9B5-16BDA337F97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859E1CE-5CBE-4A6F-BE6B-96EDAF1BCCBD}" type="datetime1">
              <a:rPr lang="de-DE" smtClean="0"/>
              <a:t>05.08.2020</a:t>
            </a:fld>
            <a:endParaRPr lang="de-DE" dirty="0"/>
          </a:p>
        </p:txBody>
      </p:sp>
      <p:sp>
        <p:nvSpPr>
          <p:cNvPr id="16" name="Fußzeilenplatzhalter 15">
            <a:extLst>
              <a:ext uri="{FF2B5EF4-FFF2-40B4-BE49-F238E27FC236}">
                <a16:creationId xmlns:a16="http://schemas.microsoft.com/office/drawing/2014/main" id="{F4ECA2AB-1FEA-2347-8116-8981C73ED53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dirty="0"/>
              <a:t>© </a:t>
            </a:r>
            <a:r>
              <a:rPr lang="de-DE" dirty="0" err="1"/>
              <a:t>TecAlliance</a:t>
            </a:r>
            <a:r>
              <a:rPr lang="de-DE" dirty="0"/>
              <a:t> GmbH</a:t>
            </a:r>
          </a:p>
        </p:txBody>
      </p:sp>
      <p:sp>
        <p:nvSpPr>
          <p:cNvPr id="17" name="Foliennummernplatzhalter 16">
            <a:extLst>
              <a:ext uri="{FF2B5EF4-FFF2-40B4-BE49-F238E27FC236}">
                <a16:creationId xmlns:a16="http://schemas.microsoft.com/office/drawing/2014/main" id="{D69F34E1-7E46-514B-B7BE-7AB67F68D67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E82B8A1-0CCE-4815-9668-383D7DE7D8B4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0089021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el 29">
            <a:extLst>
              <a:ext uri="{FF2B5EF4-FFF2-40B4-BE49-F238E27FC236}">
                <a16:creationId xmlns:a16="http://schemas.microsoft.com/office/drawing/2014/main" id="{EAD82C36-2C96-F34B-AC0A-22D5FA9B48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One</a:t>
            </a:r>
            <a:r>
              <a:rPr lang="de-DE" dirty="0"/>
              <a:t> </a:t>
            </a:r>
            <a:r>
              <a:rPr lang="de-DE" dirty="0" err="1"/>
              <a:t>model</a:t>
            </a:r>
            <a:r>
              <a:rPr lang="de-DE" dirty="0"/>
              <a:t> </a:t>
            </a:r>
            <a:r>
              <a:rPr lang="de-DE" dirty="0" err="1"/>
              <a:t>name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Europe (</a:t>
            </a:r>
            <a:r>
              <a:rPr lang="de-DE" dirty="0" err="1"/>
              <a:t>without</a:t>
            </a:r>
            <a:r>
              <a:rPr lang="de-DE" dirty="0"/>
              <a:t> Websitecheck)</a:t>
            </a:r>
          </a:p>
        </p:txBody>
      </p:sp>
      <p:sp>
        <p:nvSpPr>
          <p:cNvPr id="31" name="Textplatzhalter 30">
            <a:extLst>
              <a:ext uri="{FF2B5EF4-FFF2-40B4-BE49-F238E27FC236}">
                <a16:creationId xmlns:a16="http://schemas.microsoft.com/office/drawing/2014/main" id="{12ACFFC6-03B9-D746-BAB9-2679FD89F52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4262" y="2303236"/>
            <a:ext cx="5364163" cy="388144"/>
          </a:xfrm>
        </p:spPr>
        <p:txBody>
          <a:bodyPr/>
          <a:lstStyle/>
          <a:p>
            <a:r>
              <a:rPr lang="de-DE" dirty="0" err="1"/>
              <a:t>Pro‘s</a:t>
            </a:r>
            <a:r>
              <a:rPr lang="de-DE" dirty="0"/>
              <a:t> </a:t>
            </a:r>
            <a:r>
              <a:rPr lang="de-DE" dirty="0" err="1"/>
              <a:t>adding</a:t>
            </a:r>
            <a:r>
              <a:rPr lang="de-DE" dirty="0"/>
              <a:t> all EU countries</a:t>
            </a:r>
          </a:p>
          <a:p>
            <a:r>
              <a:rPr lang="de-DE" dirty="0"/>
              <a:t>	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4654D89B-1A50-0442-8F4D-7846FBB461C6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41325" y="2691380"/>
            <a:ext cx="5364163" cy="3474644"/>
          </a:xfrm>
        </p:spPr>
        <p:txBody>
          <a:bodyPr/>
          <a:lstStyle/>
          <a:p>
            <a:pPr lvl="1"/>
            <a:r>
              <a:rPr lang="de-DE" sz="1600" dirty="0"/>
              <a:t>All </a:t>
            </a:r>
            <a:r>
              <a:rPr lang="de-DE" sz="1600" dirty="0" err="1"/>
              <a:t>vehicles</a:t>
            </a:r>
            <a:r>
              <a:rPr lang="de-DE" sz="1600" dirty="0"/>
              <a:t> </a:t>
            </a:r>
            <a:r>
              <a:rPr lang="de-DE" sz="1600" dirty="0" err="1"/>
              <a:t>are</a:t>
            </a:r>
            <a:r>
              <a:rPr lang="de-DE" sz="1600" dirty="0"/>
              <a:t> </a:t>
            </a:r>
            <a:r>
              <a:rPr lang="de-DE" sz="1600" dirty="0" err="1"/>
              <a:t>available</a:t>
            </a:r>
            <a:r>
              <a:rPr lang="de-DE" sz="1600" dirty="0"/>
              <a:t> </a:t>
            </a:r>
            <a:r>
              <a:rPr lang="de-DE" sz="1600" dirty="0" err="1"/>
              <a:t>for</a:t>
            </a:r>
            <a:r>
              <a:rPr lang="de-DE" sz="1600" dirty="0"/>
              <a:t> Europe.</a:t>
            </a:r>
          </a:p>
          <a:p>
            <a:pPr lvl="1"/>
            <a:r>
              <a:rPr lang="de-DE" sz="1600" dirty="0" err="1"/>
              <a:t>When</a:t>
            </a:r>
            <a:r>
              <a:rPr lang="de-DE" sz="1600" dirty="0"/>
              <a:t> </a:t>
            </a:r>
            <a:r>
              <a:rPr lang="de-DE" sz="1600" dirty="0" err="1"/>
              <a:t>the</a:t>
            </a:r>
            <a:r>
              <a:rPr lang="de-DE" sz="1600" dirty="0"/>
              <a:t> </a:t>
            </a:r>
            <a:r>
              <a:rPr lang="de-DE" sz="1600" dirty="0" err="1"/>
              <a:t>vehicle</a:t>
            </a:r>
            <a:r>
              <a:rPr lang="de-DE" sz="1600" dirty="0"/>
              <a:t> </a:t>
            </a:r>
            <a:r>
              <a:rPr lang="de-DE" sz="1600" dirty="0" err="1"/>
              <a:t>appears</a:t>
            </a:r>
            <a:r>
              <a:rPr lang="de-DE" sz="1600" dirty="0"/>
              <a:t> </a:t>
            </a:r>
            <a:r>
              <a:rPr lang="de-DE" sz="1600" dirty="0" err="1"/>
              <a:t>with</a:t>
            </a:r>
            <a:r>
              <a:rPr lang="de-DE" sz="1600" dirty="0"/>
              <a:t> </a:t>
            </a:r>
            <a:r>
              <a:rPr lang="de-DE" sz="1600" dirty="0" err="1"/>
              <a:t>the</a:t>
            </a:r>
            <a:r>
              <a:rPr lang="de-DE" sz="1600" dirty="0"/>
              <a:t> </a:t>
            </a:r>
            <a:r>
              <a:rPr lang="de-DE" sz="1600" dirty="0" err="1"/>
              <a:t>specifications</a:t>
            </a:r>
            <a:r>
              <a:rPr lang="de-DE" sz="1600" dirty="0"/>
              <a:t> in VIO </a:t>
            </a:r>
            <a:r>
              <a:rPr lang="de-DE" sz="1600" dirty="0" err="1"/>
              <a:t>files</a:t>
            </a:r>
            <a:r>
              <a:rPr lang="de-DE" sz="1600" dirty="0"/>
              <a:t>, </a:t>
            </a:r>
            <a:r>
              <a:rPr lang="de-DE" sz="1600" dirty="0" err="1"/>
              <a:t>they</a:t>
            </a:r>
            <a:r>
              <a:rPr lang="de-DE" sz="1600" dirty="0"/>
              <a:t> </a:t>
            </a:r>
            <a:r>
              <a:rPr lang="de-DE" sz="1600" dirty="0" err="1"/>
              <a:t>can</a:t>
            </a:r>
            <a:r>
              <a:rPr lang="de-DE" sz="1600" dirty="0"/>
              <a:t> </a:t>
            </a:r>
            <a:r>
              <a:rPr lang="de-DE" sz="1600" dirty="0" err="1"/>
              <a:t>add</a:t>
            </a:r>
            <a:r>
              <a:rPr lang="de-DE" sz="1600" dirty="0"/>
              <a:t> </a:t>
            </a:r>
            <a:r>
              <a:rPr lang="de-DE" sz="1600" dirty="0" err="1"/>
              <a:t>the</a:t>
            </a:r>
            <a:r>
              <a:rPr lang="de-DE" sz="1600" dirty="0"/>
              <a:t> </a:t>
            </a:r>
            <a:r>
              <a:rPr lang="de-DE" sz="1600" dirty="0" err="1"/>
              <a:t>figures</a:t>
            </a:r>
            <a:r>
              <a:rPr lang="de-DE" sz="1600" dirty="0"/>
              <a:t> </a:t>
            </a:r>
            <a:r>
              <a:rPr lang="de-DE" sz="1600" dirty="0" err="1"/>
              <a:t>without</a:t>
            </a:r>
            <a:r>
              <a:rPr lang="de-DE" sz="1600" dirty="0"/>
              <a:t> extra </a:t>
            </a:r>
            <a:r>
              <a:rPr lang="de-DE" sz="1600" dirty="0" err="1"/>
              <a:t>work</a:t>
            </a:r>
            <a:r>
              <a:rPr lang="de-DE" sz="1600" dirty="0"/>
              <a:t> </a:t>
            </a:r>
            <a:r>
              <a:rPr lang="de-DE" sz="1600" dirty="0" err="1"/>
              <a:t>of</a:t>
            </a:r>
            <a:r>
              <a:rPr lang="de-DE" sz="1600" dirty="0"/>
              <a:t> </a:t>
            </a:r>
            <a:r>
              <a:rPr lang="de-DE" sz="1600" dirty="0" err="1"/>
              <a:t>adding</a:t>
            </a:r>
            <a:r>
              <a:rPr lang="de-DE" sz="1600" dirty="0"/>
              <a:t> countries.</a:t>
            </a:r>
          </a:p>
          <a:p>
            <a:pPr lvl="1"/>
            <a:r>
              <a:rPr lang="de-DE" sz="1600" dirty="0" err="1"/>
              <a:t>It</a:t>
            </a:r>
            <a:r>
              <a:rPr lang="de-DE" sz="1600" dirty="0"/>
              <a:t> </a:t>
            </a:r>
            <a:r>
              <a:rPr lang="de-DE" sz="1600" dirty="0" err="1"/>
              <a:t>saves</a:t>
            </a:r>
            <a:r>
              <a:rPr lang="de-DE" sz="1600" dirty="0"/>
              <a:t> a </a:t>
            </a:r>
            <a:r>
              <a:rPr lang="de-DE" sz="1600" dirty="0" err="1"/>
              <a:t>lot</a:t>
            </a:r>
            <a:r>
              <a:rPr lang="de-DE" sz="1600" dirty="0"/>
              <a:t> </a:t>
            </a:r>
            <a:r>
              <a:rPr lang="de-DE" sz="1600" dirty="0" err="1"/>
              <a:t>of</a:t>
            </a:r>
            <a:r>
              <a:rPr lang="de-DE" sz="1600" dirty="0"/>
              <a:t> time </a:t>
            </a:r>
            <a:r>
              <a:rPr lang="de-DE" sz="1600" dirty="0" err="1"/>
              <a:t>because</a:t>
            </a:r>
            <a:r>
              <a:rPr lang="de-DE" sz="1600" dirty="0"/>
              <a:t> </a:t>
            </a:r>
            <a:r>
              <a:rPr lang="de-DE" sz="1600" dirty="0" err="1"/>
              <a:t>we</a:t>
            </a:r>
            <a:r>
              <a:rPr lang="de-DE" sz="1600" dirty="0"/>
              <a:t> do not </a:t>
            </a:r>
            <a:r>
              <a:rPr lang="de-DE" sz="1600" dirty="0" err="1"/>
              <a:t>have</a:t>
            </a:r>
            <a:r>
              <a:rPr lang="de-DE" sz="1600" dirty="0"/>
              <a:t> </a:t>
            </a:r>
            <a:r>
              <a:rPr lang="de-DE" sz="1600" dirty="0" err="1"/>
              <a:t>to</a:t>
            </a:r>
            <a:r>
              <a:rPr lang="de-DE" sz="1600" dirty="0"/>
              <a:t> do websitecheck.</a:t>
            </a:r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EFCA20D3-8A2A-F744-945E-57A4C39435A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20791" y="2303236"/>
            <a:ext cx="5364163" cy="388144"/>
          </a:xfrm>
        </p:spPr>
        <p:txBody>
          <a:bodyPr/>
          <a:lstStyle/>
          <a:p>
            <a:r>
              <a:rPr lang="de-DE" dirty="0"/>
              <a:t>Contra </a:t>
            </a:r>
            <a:r>
              <a:rPr lang="de-DE" dirty="0" err="1"/>
              <a:t>adding</a:t>
            </a:r>
            <a:r>
              <a:rPr lang="de-DE" dirty="0"/>
              <a:t> all EU countrie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229F4F4-0B02-9845-A256-CE9CEA94173A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387854" y="2691378"/>
            <a:ext cx="5364163" cy="3474644"/>
          </a:xfrm>
        </p:spPr>
        <p:txBody>
          <a:bodyPr/>
          <a:lstStyle/>
          <a:p>
            <a:pPr lvl="1"/>
            <a:r>
              <a:rPr lang="de-DE" sz="1600" dirty="0" err="1"/>
              <a:t>When</a:t>
            </a:r>
            <a:r>
              <a:rPr lang="de-DE" sz="1600" dirty="0"/>
              <a:t> </a:t>
            </a:r>
            <a:r>
              <a:rPr lang="de-DE" sz="1600" dirty="0" err="1"/>
              <a:t>there</a:t>
            </a:r>
            <a:r>
              <a:rPr lang="de-DE" sz="1600" dirty="0"/>
              <a:t> </a:t>
            </a:r>
            <a:r>
              <a:rPr lang="de-DE" sz="1600" dirty="0" err="1"/>
              <a:t>are</a:t>
            </a:r>
            <a:r>
              <a:rPr lang="de-DE" sz="1600" dirty="0"/>
              <a:t> </a:t>
            </a:r>
            <a:r>
              <a:rPr lang="de-DE" sz="1600" dirty="0" err="1"/>
              <a:t>vehicles</a:t>
            </a:r>
            <a:r>
              <a:rPr lang="de-DE" sz="1600" dirty="0"/>
              <a:t> </a:t>
            </a:r>
            <a:r>
              <a:rPr lang="de-DE" sz="1600" dirty="0" err="1"/>
              <a:t>for</a:t>
            </a:r>
            <a:r>
              <a:rPr lang="de-DE" sz="1600" dirty="0"/>
              <a:t> LHD </a:t>
            </a:r>
            <a:r>
              <a:rPr lang="de-DE" sz="1600" dirty="0" err="1"/>
              <a:t>only</a:t>
            </a:r>
            <a:r>
              <a:rPr lang="de-DE" sz="1600" dirty="0"/>
              <a:t>, </a:t>
            </a:r>
            <a:r>
              <a:rPr lang="de-DE" sz="1600" dirty="0" err="1"/>
              <a:t>they</a:t>
            </a:r>
            <a:r>
              <a:rPr lang="de-DE" sz="1600" dirty="0"/>
              <a:t> will also </a:t>
            </a:r>
            <a:r>
              <a:rPr lang="de-DE" sz="1600" dirty="0" err="1"/>
              <a:t>get</a:t>
            </a:r>
            <a:r>
              <a:rPr lang="de-DE" sz="1600" dirty="0"/>
              <a:t> RHD countries </a:t>
            </a:r>
            <a:r>
              <a:rPr lang="de-DE" sz="1600" dirty="0" err="1"/>
              <a:t>added</a:t>
            </a:r>
            <a:r>
              <a:rPr lang="de-DE" sz="1600" dirty="0"/>
              <a:t> and vice </a:t>
            </a:r>
            <a:r>
              <a:rPr lang="de-DE" sz="1600" dirty="0" err="1"/>
              <a:t>versa</a:t>
            </a:r>
            <a:r>
              <a:rPr lang="de-DE" sz="1600" dirty="0"/>
              <a:t>.</a:t>
            </a:r>
          </a:p>
          <a:p>
            <a:pPr lvl="1"/>
            <a:r>
              <a:rPr lang="de-DE" sz="1600" dirty="0" err="1"/>
              <a:t>When</a:t>
            </a:r>
            <a:r>
              <a:rPr lang="de-DE" sz="1600" dirty="0"/>
              <a:t> </a:t>
            </a:r>
            <a:r>
              <a:rPr lang="de-DE" sz="1600" dirty="0" err="1"/>
              <a:t>there</a:t>
            </a:r>
            <a:r>
              <a:rPr lang="de-DE" sz="1600" dirty="0"/>
              <a:t> </a:t>
            </a:r>
            <a:r>
              <a:rPr lang="de-DE" sz="1600" dirty="0" err="1"/>
              <a:t>is</a:t>
            </a:r>
            <a:r>
              <a:rPr lang="de-DE" sz="1600" dirty="0"/>
              <a:t> a </a:t>
            </a:r>
            <a:r>
              <a:rPr lang="de-DE" sz="1600" dirty="0" err="1"/>
              <a:t>vehicle</a:t>
            </a:r>
            <a:r>
              <a:rPr lang="de-DE" sz="1600" dirty="0"/>
              <a:t> </a:t>
            </a:r>
            <a:r>
              <a:rPr lang="de-DE" sz="1600" dirty="0" err="1"/>
              <a:t>for</a:t>
            </a:r>
            <a:r>
              <a:rPr lang="de-DE" sz="1600" dirty="0"/>
              <a:t> a </a:t>
            </a:r>
            <a:r>
              <a:rPr lang="de-DE" sz="1600" dirty="0" err="1"/>
              <a:t>specific</a:t>
            </a:r>
            <a:r>
              <a:rPr lang="de-DE" sz="1600" dirty="0"/>
              <a:t> </a:t>
            </a:r>
            <a:r>
              <a:rPr lang="de-DE" sz="1600" dirty="0" err="1"/>
              <a:t>country</a:t>
            </a:r>
            <a:r>
              <a:rPr lang="de-DE" sz="1600" dirty="0"/>
              <a:t>/</a:t>
            </a:r>
            <a:r>
              <a:rPr lang="de-DE" sz="1600" dirty="0" err="1"/>
              <a:t>region</a:t>
            </a:r>
            <a:r>
              <a:rPr lang="de-DE" sz="1600" dirty="0"/>
              <a:t> (e.g. </a:t>
            </a:r>
            <a:r>
              <a:rPr lang="de-DE" sz="1600" dirty="0" err="1"/>
              <a:t>less</a:t>
            </a:r>
            <a:r>
              <a:rPr lang="de-DE" sz="1600" dirty="0"/>
              <a:t> power BMW </a:t>
            </a:r>
            <a:r>
              <a:rPr lang="de-DE" sz="1600" dirty="0" err="1"/>
              <a:t>Belgium</a:t>
            </a:r>
            <a:r>
              <a:rPr lang="de-DE" sz="1600" dirty="0"/>
              <a:t>) </a:t>
            </a:r>
            <a:r>
              <a:rPr lang="de-DE" sz="1600" dirty="0" err="1"/>
              <a:t>it</a:t>
            </a:r>
            <a:r>
              <a:rPr lang="de-DE" sz="1600" dirty="0"/>
              <a:t> will also </a:t>
            </a:r>
            <a:r>
              <a:rPr lang="de-DE" sz="1600" dirty="0" err="1"/>
              <a:t>be</a:t>
            </a:r>
            <a:r>
              <a:rPr lang="de-DE" sz="1600" dirty="0"/>
              <a:t> valid </a:t>
            </a:r>
            <a:r>
              <a:rPr lang="de-DE" sz="1600" dirty="0" err="1"/>
              <a:t>for</a:t>
            </a:r>
            <a:r>
              <a:rPr lang="de-DE" sz="1600" dirty="0"/>
              <a:t> „</a:t>
            </a:r>
            <a:r>
              <a:rPr lang="de-DE" sz="1600" dirty="0" err="1"/>
              <a:t>rest</a:t>
            </a:r>
            <a:r>
              <a:rPr lang="de-DE" sz="1600" dirty="0"/>
              <a:t> </a:t>
            </a:r>
            <a:r>
              <a:rPr lang="de-DE" sz="1600" dirty="0" err="1"/>
              <a:t>of</a:t>
            </a:r>
            <a:r>
              <a:rPr lang="de-DE" sz="1600" dirty="0"/>
              <a:t> Europe“.</a:t>
            </a:r>
          </a:p>
          <a:p>
            <a:pPr lvl="1"/>
            <a:r>
              <a:rPr lang="de-DE" sz="1600" dirty="0" err="1"/>
              <a:t>When</a:t>
            </a:r>
            <a:r>
              <a:rPr lang="de-DE" sz="1600" dirty="0"/>
              <a:t> </a:t>
            </a:r>
            <a:r>
              <a:rPr lang="de-DE" sz="1600" dirty="0" err="1"/>
              <a:t>there</a:t>
            </a:r>
            <a:r>
              <a:rPr lang="de-DE" sz="1600" dirty="0"/>
              <a:t> </a:t>
            </a:r>
            <a:r>
              <a:rPr lang="de-DE" sz="1600" dirty="0" err="1"/>
              <a:t>is</a:t>
            </a:r>
            <a:r>
              <a:rPr lang="de-DE" sz="1600" dirty="0"/>
              <a:t> a VIO </a:t>
            </a:r>
            <a:r>
              <a:rPr lang="de-DE" sz="1600" dirty="0" err="1"/>
              <a:t>file</a:t>
            </a:r>
            <a:r>
              <a:rPr lang="de-DE" sz="1600" dirty="0"/>
              <a:t> </a:t>
            </a:r>
            <a:r>
              <a:rPr lang="de-DE" sz="1600" dirty="0" err="1"/>
              <a:t>with</a:t>
            </a:r>
            <a:r>
              <a:rPr lang="de-DE" sz="1600" dirty="0"/>
              <a:t> </a:t>
            </a:r>
            <a:r>
              <a:rPr lang="de-DE" sz="1600" dirty="0" err="1"/>
              <a:t>little</a:t>
            </a:r>
            <a:r>
              <a:rPr lang="de-DE" sz="1600" dirty="0"/>
              <a:t> </a:t>
            </a:r>
            <a:r>
              <a:rPr lang="de-DE" sz="1600" dirty="0" err="1"/>
              <a:t>information</a:t>
            </a:r>
            <a:r>
              <a:rPr lang="de-DE" sz="1600" dirty="0"/>
              <a:t> (e.g. </a:t>
            </a:r>
            <a:r>
              <a:rPr lang="de-DE" sz="1600" dirty="0" err="1"/>
              <a:t>only</a:t>
            </a:r>
            <a:r>
              <a:rPr lang="de-DE" sz="1600" dirty="0"/>
              <a:t> </a:t>
            </a:r>
            <a:r>
              <a:rPr lang="de-DE" sz="1600" dirty="0" err="1"/>
              <a:t>make</a:t>
            </a:r>
            <a:r>
              <a:rPr lang="de-DE" sz="1600" dirty="0"/>
              <a:t> and </a:t>
            </a:r>
            <a:r>
              <a:rPr lang="de-DE" sz="1600" dirty="0" err="1"/>
              <a:t>model</a:t>
            </a:r>
            <a:r>
              <a:rPr lang="de-DE" sz="1600" dirty="0"/>
              <a:t>) </a:t>
            </a:r>
            <a:r>
              <a:rPr lang="de-DE" sz="1600" dirty="0" err="1"/>
              <a:t>vehicles</a:t>
            </a:r>
            <a:r>
              <a:rPr lang="de-DE" sz="1600" dirty="0"/>
              <a:t> will </a:t>
            </a:r>
            <a:r>
              <a:rPr lang="de-DE" sz="1600" dirty="0" err="1"/>
              <a:t>reveive</a:t>
            </a:r>
            <a:r>
              <a:rPr lang="de-DE" sz="1600" dirty="0"/>
              <a:t> </a:t>
            </a:r>
            <a:r>
              <a:rPr lang="de-DE" sz="1600" dirty="0" err="1"/>
              <a:t>figures</a:t>
            </a:r>
            <a:r>
              <a:rPr lang="de-DE" sz="1600" dirty="0"/>
              <a:t> </a:t>
            </a:r>
            <a:r>
              <a:rPr lang="de-DE" sz="1600" dirty="0" err="1"/>
              <a:t>while</a:t>
            </a:r>
            <a:r>
              <a:rPr lang="de-DE" sz="1600" dirty="0"/>
              <a:t> </a:t>
            </a:r>
            <a:r>
              <a:rPr lang="de-DE" sz="1600" dirty="0" err="1"/>
              <a:t>they</a:t>
            </a:r>
            <a:r>
              <a:rPr lang="de-DE" sz="1600" dirty="0"/>
              <a:t> </a:t>
            </a:r>
            <a:r>
              <a:rPr lang="de-DE" sz="1600" dirty="0" err="1"/>
              <a:t>are</a:t>
            </a:r>
            <a:r>
              <a:rPr lang="de-DE" sz="1600" dirty="0"/>
              <a:t> not in </a:t>
            </a:r>
            <a:r>
              <a:rPr lang="de-DE" sz="1600" dirty="0" err="1"/>
              <a:t>the</a:t>
            </a:r>
            <a:r>
              <a:rPr lang="de-DE" sz="1600" dirty="0"/>
              <a:t> </a:t>
            </a:r>
            <a:r>
              <a:rPr lang="de-DE" sz="1600" dirty="0" err="1"/>
              <a:t>country</a:t>
            </a:r>
            <a:r>
              <a:rPr lang="de-DE" sz="1600" dirty="0"/>
              <a:t>.</a:t>
            </a:r>
          </a:p>
          <a:p>
            <a:pPr marL="0" lvl="1" indent="0">
              <a:buNone/>
            </a:pPr>
            <a:endParaRPr lang="de-DE" dirty="0"/>
          </a:p>
        </p:txBody>
      </p:sp>
      <p:sp>
        <p:nvSpPr>
          <p:cNvPr id="61" name="Datumsplatzhalter 60">
            <a:extLst>
              <a:ext uri="{FF2B5EF4-FFF2-40B4-BE49-F238E27FC236}">
                <a16:creationId xmlns:a16="http://schemas.microsoft.com/office/drawing/2014/main" id="{34374D78-12BB-B444-A427-0AAF5580127F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11569E26-B259-441A-AB67-0E4FB6617FAE}" type="datetime1">
              <a:rPr lang="de-DE" smtClean="0"/>
              <a:t>05.08.2020</a:t>
            </a:fld>
            <a:endParaRPr lang="de-DE" dirty="0"/>
          </a:p>
        </p:txBody>
      </p:sp>
      <p:sp>
        <p:nvSpPr>
          <p:cNvPr id="62" name="Fußzeilenplatzhalter 61">
            <a:extLst>
              <a:ext uri="{FF2B5EF4-FFF2-40B4-BE49-F238E27FC236}">
                <a16:creationId xmlns:a16="http://schemas.microsoft.com/office/drawing/2014/main" id="{1FBB51AE-0257-0B45-A7EA-2454242A964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© TecAlliance GmbH</a:t>
            </a:r>
            <a:endParaRPr lang="de-DE" dirty="0"/>
          </a:p>
        </p:txBody>
      </p:sp>
      <p:sp>
        <p:nvSpPr>
          <p:cNvPr id="63" name="Foliennummernplatzhalter 62">
            <a:extLst>
              <a:ext uri="{FF2B5EF4-FFF2-40B4-BE49-F238E27FC236}">
                <a16:creationId xmlns:a16="http://schemas.microsoft.com/office/drawing/2014/main" id="{9FFC1842-562F-F14A-B90F-3FDBEF9BC95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CE82B8A1-0CCE-4815-9668-383D7DE7D8B4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BD57593-CCF6-4357-B1FC-7417C7FB3551}"/>
              </a:ext>
            </a:extLst>
          </p:cNvPr>
          <p:cNvSpPr txBox="1"/>
          <p:nvPr/>
        </p:nvSpPr>
        <p:spPr>
          <a:xfrm>
            <a:off x="441325" y="1196752"/>
            <a:ext cx="1084004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Audi, A3, 1591cc, 120kw, FWD, 4cyl, 16valves, HB, LR</a:t>
            </a:r>
          </a:p>
          <a:p>
            <a:r>
              <a:rPr lang="en-US" dirty="0"/>
              <a:t>Audi, A3, 1591cc, 110kw, FWD, 4cyl, 16valves, HB, L, … </a:t>
            </a:r>
          </a:p>
        </p:txBody>
      </p:sp>
    </p:spTree>
    <p:extLst>
      <p:ext uri="{BB962C8B-B14F-4D97-AF65-F5344CB8AC3E}">
        <p14:creationId xmlns:p14="http://schemas.microsoft.com/office/powerpoint/2010/main" val="159899871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el 29">
            <a:extLst>
              <a:ext uri="{FF2B5EF4-FFF2-40B4-BE49-F238E27FC236}">
                <a16:creationId xmlns:a16="http://schemas.microsoft.com/office/drawing/2014/main" id="{EAD82C36-2C96-F34B-AC0A-22D5FA9B48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One</a:t>
            </a:r>
            <a:r>
              <a:rPr lang="de-DE" dirty="0"/>
              <a:t> </a:t>
            </a:r>
            <a:r>
              <a:rPr lang="de-DE" dirty="0" err="1"/>
              <a:t>model</a:t>
            </a:r>
            <a:r>
              <a:rPr lang="de-DE" dirty="0"/>
              <a:t> </a:t>
            </a:r>
            <a:r>
              <a:rPr lang="de-DE" dirty="0" err="1"/>
              <a:t>name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Europe (</a:t>
            </a:r>
            <a:r>
              <a:rPr lang="de-DE" dirty="0" err="1"/>
              <a:t>with</a:t>
            </a:r>
            <a:r>
              <a:rPr lang="de-DE" dirty="0"/>
              <a:t> Websitecheck)</a:t>
            </a:r>
          </a:p>
        </p:txBody>
      </p:sp>
      <p:sp>
        <p:nvSpPr>
          <p:cNvPr id="31" name="Textplatzhalter 30">
            <a:extLst>
              <a:ext uri="{FF2B5EF4-FFF2-40B4-BE49-F238E27FC236}">
                <a16:creationId xmlns:a16="http://schemas.microsoft.com/office/drawing/2014/main" id="{12ACFFC6-03B9-D746-BAB9-2679FD89F52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1324" y="2012532"/>
            <a:ext cx="5364163" cy="388144"/>
          </a:xfrm>
        </p:spPr>
        <p:txBody>
          <a:bodyPr/>
          <a:lstStyle/>
          <a:p>
            <a:r>
              <a:rPr lang="de-DE" dirty="0" err="1"/>
              <a:t>Pro‘s</a:t>
            </a:r>
            <a:r>
              <a:rPr lang="de-DE" dirty="0"/>
              <a:t> </a:t>
            </a:r>
            <a:r>
              <a:rPr lang="de-DE" dirty="0" err="1"/>
              <a:t>adding</a:t>
            </a:r>
            <a:r>
              <a:rPr lang="de-DE" dirty="0"/>
              <a:t> all EU countries</a:t>
            </a:r>
          </a:p>
          <a:p>
            <a:r>
              <a:rPr lang="de-DE" dirty="0"/>
              <a:t>	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4654D89B-1A50-0442-8F4D-7846FBB461C6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41325" y="2570126"/>
            <a:ext cx="5364163" cy="3595898"/>
          </a:xfrm>
        </p:spPr>
        <p:txBody>
          <a:bodyPr/>
          <a:lstStyle/>
          <a:p>
            <a:pPr lvl="1"/>
            <a:r>
              <a:rPr lang="de-DE" sz="1600" dirty="0"/>
              <a:t>All </a:t>
            </a:r>
            <a:r>
              <a:rPr lang="de-DE" sz="1600" dirty="0" err="1"/>
              <a:t>vehicles</a:t>
            </a:r>
            <a:r>
              <a:rPr lang="de-DE" sz="1600" dirty="0"/>
              <a:t> </a:t>
            </a:r>
            <a:r>
              <a:rPr lang="de-DE" sz="1600" dirty="0" err="1"/>
              <a:t>are</a:t>
            </a:r>
            <a:r>
              <a:rPr lang="de-DE" sz="1600" dirty="0"/>
              <a:t> </a:t>
            </a:r>
            <a:r>
              <a:rPr lang="de-DE" sz="1600" dirty="0" err="1"/>
              <a:t>available</a:t>
            </a:r>
            <a:r>
              <a:rPr lang="de-DE" sz="1600" dirty="0"/>
              <a:t> </a:t>
            </a:r>
            <a:r>
              <a:rPr lang="de-DE" sz="1600" dirty="0" err="1"/>
              <a:t>for</a:t>
            </a:r>
            <a:r>
              <a:rPr lang="de-DE" sz="1600" dirty="0"/>
              <a:t> Europe.</a:t>
            </a:r>
          </a:p>
          <a:p>
            <a:pPr lvl="1"/>
            <a:r>
              <a:rPr lang="de-DE" sz="1600" dirty="0" err="1"/>
              <a:t>When</a:t>
            </a:r>
            <a:r>
              <a:rPr lang="de-DE" sz="1600" dirty="0"/>
              <a:t> </a:t>
            </a:r>
            <a:r>
              <a:rPr lang="de-DE" sz="1600" dirty="0" err="1"/>
              <a:t>the</a:t>
            </a:r>
            <a:r>
              <a:rPr lang="de-DE" sz="1600" dirty="0"/>
              <a:t> </a:t>
            </a:r>
            <a:r>
              <a:rPr lang="de-DE" sz="1600" dirty="0" err="1"/>
              <a:t>vehicle</a:t>
            </a:r>
            <a:r>
              <a:rPr lang="de-DE" sz="1600" dirty="0"/>
              <a:t> </a:t>
            </a:r>
            <a:r>
              <a:rPr lang="de-DE" sz="1600" dirty="0" err="1"/>
              <a:t>appears</a:t>
            </a:r>
            <a:r>
              <a:rPr lang="de-DE" sz="1600" dirty="0"/>
              <a:t> </a:t>
            </a:r>
            <a:r>
              <a:rPr lang="de-DE" sz="1600" dirty="0" err="1"/>
              <a:t>with</a:t>
            </a:r>
            <a:r>
              <a:rPr lang="de-DE" sz="1600" dirty="0"/>
              <a:t> </a:t>
            </a:r>
            <a:r>
              <a:rPr lang="de-DE" sz="1600" dirty="0" err="1"/>
              <a:t>the</a:t>
            </a:r>
            <a:r>
              <a:rPr lang="de-DE" sz="1600" dirty="0"/>
              <a:t> </a:t>
            </a:r>
            <a:r>
              <a:rPr lang="de-DE" sz="1600" dirty="0" err="1"/>
              <a:t>specifications</a:t>
            </a:r>
            <a:r>
              <a:rPr lang="de-DE" sz="1600" dirty="0"/>
              <a:t> in VIO </a:t>
            </a:r>
            <a:r>
              <a:rPr lang="de-DE" sz="1600" dirty="0" err="1"/>
              <a:t>files</a:t>
            </a:r>
            <a:r>
              <a:rPr lang="de-DE" sz="1600" dirty="0"/>
              <a:t>, </a:t>
            </a:r>
            <a:r>
              <a:rPr lang="de-DE" sz="1600" dirty="0" err="1"/>
              <a:t>they</a:t>
            </a:r>
            <a:r>
              <a:rPr lang="de-DE" sz="1600" dirty="0"/>
              <a:t> </a:t>
            </a:r>
            <a:r>
              <a:rPr lang="de-DE" sz="1600" dirty="0" err="1"/>
              <a:t>can</a:t>
            </a:r>
            <a:r>
              <a:rPr lang="de-DE" sz="1600" dirty="0"/>
              <a:t> </a:t>
            </a:r>
            <a:r>
              <a:rPr lang="de-DE" sz="1600" dirty="0" err="1"/>
              <a:t>add</a:t>
            </a:r>
            <a:r>
              <a:rPr lang="de-DE" sz="1600" dirty="0"/>
              <a:t> </a:t>
            </a:r>
            <a:r>
              <a:rPr lang="de-DE" sz="1600" dirty="0" err="1"/>
              <a:t>the</a:t>
            </a:r>
            <a:r>
              <a:rPr lang="de-DE" sz="1600" dirty="0"/>
              <a:t> </a:t>
            </a:r>
            <a:r>
              <a:rPr lang="de-DE" sz="1600" dirty="0" err="1"/>
              <a:t>figures</a:t>
            </a:r>
            <a:r>
              <a:rPr lang="de-DE" sz="1600" dirty="0"/>
              <a:t> </a:t>
            </a:r>
            <a:r>
              <a:rPr lang="de-DE" sz="1600" dirty="0" err="1"/>
              <a:t>with</a:t>
            </a:r>
            <a:r>
              <a:rPr lang="de-DE" sz="1600" dirty="0"/>
              <a:t> extra </a:t>
            </a:r>
            <a:r>
              <a:rPr lang="de-DE" sz="1600" dirty="0" err="1"/>
              <a:t>work</a:t>
            </a:r>
            <a:r>
              <a:rPr lang="de-DE" sz="1600" dirty="0"/>
              <a:t> </a:t>
            </a:r>
            <a:r>
              <a:rPr lang="de-DE" sz="1600" dirty="0" err="1"/>
              <a:t>of</a:t>
            </a:r>
            <a:r>
              <a:rPr lang="de-DE" sz="1600" dirty="0"/>
              <a:t> </a:t>
            </a:r>
            <a:r>
              <a:rPr lang="de-DE" sz="1600" dirty="0" err="1"/>
              <a:t>adding</a:t>
            </a:r>
            <a:r>
              <a:rPr lang="de-DE" sz="1600" dirty="0"/>
              <a:t> </a:t>
            </a:r>
            <a:r>
              <a:rPr lang="de-DE" sz="1600" dirty="0" err="1"/>
              <a:t>vehicles</a:t>
            </a:r>
            <a:r>
              <a:rPr lang="de-DE" sz="1600" dirty="0"/>
              <a:t>.</a:t>
            </a:r>
          </a:p>
          <a:p>
            <a:pPr lvl="1"/>
            <a:r>
              <a:rPr lang="de-DE" sz="1600" dirty="0" err="1"/>
              <a:t>When</a:t>
            </a:r>
            <a:r>
              <a:rPr lang="de-DE" sz="1600" dirty="0"/>
              <a:t> </a:t>
            </a:r>
            <a:r>
              <a:rPr lang="de-DE" sz="1600" dirty="0" err="1"/>
              <a:t>you</a:t>
            </a:r>
            <a:r>
              <a:rPr lang="de-DE" sz="1600" dirty="0"/>
              <a:t> </a:t>
            </a:r>
            <a:r>
              <a:rPr lang="de-DE" sz="1600" dirty="0" err="1"/>
              <a:t>have</a:t>
            </a:r>
            <a:r>
              <a:rPr lang="de-DE" sz="1600" dirty="0"/>
              <a:t> </a:t>
            </a:r>
            <a:r>
              <a:rPr lang="de-DE" sz="1600" dirty="0" err="1"/>
              <a:t>found</a:t>
            </a:r>
            <a:r>
              <a:rPr lang="de-DE" sz="1600" dirty="0"/>
              <a:t> a </a:t>
            </a:r>
            <a:r>
              <a:rPr lang="de-DE" sz="1600" dirty="0" err="1"/>
              <a:t>vehicle</a:t>
            </a:r>
            <a:r>
              <a:rPr lang="de-DE" sz="1600" dirty="0"/>
              <a:t> via websitecheck </a:t>
            </a:r>
            <a:r>
              <a:rPr lang="de-DE" sz="1600" dirty="0" err="1"/>
              <a:t>you</a:t>
            </a:r>
            <a:r>
              <a:rPr lang="de-DE" sz="1600" dirty="0"/>
              <a:t> </a:t>
            </a:r>
            <a:r>
              <a:rPr lang="de-DE" sz="1600" dirty="0" err="1"/>
              <a:t>can</a:t>
            </a:r>
            <a:r>
              <a:rPr lang="de-DE" sz="1600" dirty="0"/>
              <a:t> </a:t>
            </a:r>
            <a:r>
              <a:rPr lang="de-DE" sz="1600" dirty="0" err="1"/>
              <a:t>flag</a:t>
            </a:r>
            <a:r>
              <a:rPr lang="de-DE" sz="1600" dirty="0"/>
              <a:t> </a:t>
            </a:r>
            <a:r>
              <a:rPr lang="de-DE" sz="1600" dirty="0" err="1"/>
              <a:t>it</a:t>
            </a:r>
            <a:r>
              <a:rPr lang="de-DE" sz="1600" dirty="0"/>
              <a:t> in </a:t>
            </a:r>
            <a:r>
              <a:rPr lang="de-DE" sz="1600" dirty="0" err="1"/>
              <a:t>the</a:t>
            </a:r>
            <a:r>
              <a:rPr lang="de-DE" sz="1600" dirty="0"/>
              <a:t> BIEB.</a:t>
            </a:r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EFCA20D3-8A2A-F744-945E-57A4C39435A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87853" y="2016961"/>
            <a:ext cx="5364163" cy="388144"/>
          </a:xfrm>
        </p:spPr>
        <p:txBody>
          <a:bodyPr/>
          <a:lstStyle/>
          <a:p>
            <a:r>
              <a:rPr lang="de-DE" dirty="0"/>
              <a:t>Contra </a:t>
            </a:r>
            <a:r>
              <a:rPr lang="de-DE" dirty="0" err="1"/>
              <a:t>adding</a:t>
            </a:r>
            <a:r>
              <a:rPr lang="de-DE" dirty="0"/>
              <a:t> all EU countrie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229F4F4-0B02-9845-A256-CE9CEA94173A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387854" y="2570125"/>
            <a:ext cx="5364163" cy="3595897"/>
          </a:xfrm>
        </p:spPr>
        <p:txBody>
          <a:bodyPr/>
          <a:lstStyle/>
          <a:p>
            <a:pPr lvl="1"/>
            <a:r>
              <a:rPr lang="de-DE" sz="1600" dirty="0" err="1"/>
              <a:t>When</a:t>
            </a:r>
            <a:r>
              <a:rPr lang="de-DE" sz="1600" dirty="0"/>
              <a:t> </a:t>
            </a:r>
            <a:r>
              <a:rPr lang="de-DE" sz="1600" dirty="0" err="1"/>
              <a:t>there</a:t>
            </a:r>
            <a:r>
              <a:rPr lang="de-DE" sz="1600" dirty="0"/>
              <a:t> </a:t>
            </a:r>
            <a:r>
              <a:rPr lang="de-DE" sz="1600" dirty="0" err="1"/>
              <a:t>are</a:t>
            </a:r>
            <a:r>
              <a:rPr lang="de-DE" sz="1600" dirty="0"/>
              <a:t> </a:t>
            </a:r>
            <a:r>
              <a:rPr lang="de-DE" sz="1600" dirty="0" err="1"/>
              <a:t>vehicles</a:t>
            </a:r>
            <a:r>
              <a:rPr lang="de-DE" sz="1600" dirty="0"/>
              <a:t> </a:t>
            </a:r>
            <a:r>
              <a:rPr lang="de-DE" sz="1600" dirty="0" err="1"/>
              <a:t>for</a:t>
            </a:r>
            <a:r>
              <a:rPr lang="de-DE" sz="1600" dirty="0"/>
              <a:t> LHD </a:t>
            </a:r>
            <a:r>
              <a:rPr lang="de-DE" sz="1600" dirty="0" err="1"/>
              <a:t>only</a:t>
            </a:r>
            <a:r>
              <a:rPr lang="de-DE" sz="1600" dirty="0"/>
              <a:t>, </a:t>
            </a:r>
            <a:r>
              <a:rPr lang="de-DE" sz="1600" dirty="0" err="1"/>
              <a:t>they</a:t>
            </a:r>
            <a:r>
              <a:rPr lang="de-DE" sz="1600" dirty="0"/>
              <a:t> will also </a:t>
            </a:r>
            <a:r>
              <a:rPr lang="de-DE" sz="1600" dirty="0" err="1"/>
              <a:t>get</a:t>
            </a:r>
            <a:r>
              <a:rPr lang="de-DE" sz="1600" dirty="0"/>
              <a:t> RHD countries </a:t>
            </a:r>
            <a:r>
              <a:rPr lang="de-DE" sz="1600" dirty="0" err="1"/>
              <a:t>added</a:t>
            </a:r>
            <a:r>
              <a:rPr lang="de-DE" sz="1600" dirty="0"/>
              <a:t> and vice </a:t>
            </a:r>
            <a:r>
              <a:rPr lang="de-DE" sz="1600" dirty="0" err="1"/>
              <a:t>versa</a:t>
            </a:r>
            <a:r>
              <a:rPr lang="de-DE" sz="1600" dirty="0"/>
              <a:t>.</a:t>
            </a:r>
          </a:p>
          <a:p>
            <a:pPr lvl="1"/>
            <a:r>
              <a:rPr lang="de-DE" sz="1600" dirty="0" err="1"/>
              <a:t>When</a:t>
            </a:r>
            <a:r>
              <a:rPr lang="de-DE" sz="1600" dirty="0"/>
              <a:t> </a:t>
            </a:r>
            <a:r>
              <a:rPr lang="de-DE" sz="1600" dirty="0" err="1"/>
              <a:t>there</a:t>
            </a:r>
            <a:r>
              <a:rPr lang="de-DE" sz="1600" dirty="0"/>
              <a:t> </a:t>
            </a:r>
            <a:r>
              <a:rPr lang="de-DE" sz="1600" dirty="0" err="1"/>
              <a:t>is</a:t>
            </a:r>
            <a:r>
              <a:rPr lang="de-DE" sz="1600" dirty="0"/>
              <a:t> a </a:t>
            </a:r>
            <a:r>
              <a:rPr lang="de-DE" sz="1600" dirty="0" err="1"/>
              <a:t>vehicle</a:t>
            </a:r>
            <a:r>
              <a:rPr lang="de-DE" sz="1600" dirty="0"/>
              <a:t> </a:t>
            </a:r>
            <a:r>
              <a:rPr lang="de-DE" sz="1600" dirty="0" err="1"/>
              <a:t>for</a:t>
            </a:r>
            <a:r>
              <a:rPr lang="de-DE" sz="1600" dirty="0"/>
              <a:t> a </a:t>
            </a:r>
            <a:r>
              <a:rPr lang="de-DE" sz="1600" dirty="0" err="1"/>
              <a:t>specific</a:t>
            </a:r>
            <a:r>
              <a:rPr lang="de-DE" sz="1600" dirty="0"/>
              <a:t> </a:t>
            </a:r>
            <a:r>
              <a:rPr lang="de-DE" sz="1600" dirty="0" err="1"/>
              <a:t>country</a:t>
            </a:r>
            <a:r>
              <a:rPr lang="de-DE" sz="1600" dirty="0"/>
              <a:t>/</a:t>
            </a:r>
            <a:r>
              <a:rPr lang="de-DE" sz="1600" dirty="0" err="1"/>
              <a:t>region</a:t>
            </a:r>
            <a:r>
              <a:rPr lang="de-DE" sz="1600" dirty="0"/>
              <a:t> (e.g. </a:t>
            </a:r>
            <a:r>
              <a:rPr lang="de-DE" sz="1600" dirty="0" err="1"/>
              <a:t>less</a:t>
            </a:r>
            <a:r>
              <a:rPr lang="de-DE" sz="1600" dirty="0"/>
              <a:t> power BMW </a:t>
            </a:r>
            <a:r>
              <a:rPr lang="de-DE" sz="1600" dirty="0" err="1"/>
              <a:t>Belgium</a:t>
            </a:r>
            <a:r>
              <a:rPr lang="de-DE" sz="1600" dirty="0"/>
              <a:t>) </a:t>
            </a:r>
            <a:r>
              <a:rPr lang="de-DE" sz="1600" dirty="0" err="1"/>
              <a:t>it</a:t>
            </a:r>
            <a:r>
              <a:rPr lang="de-DE" sz="1600" dirty="0"/>
              <a:t> will also </a:t>
            </a:r>
            <a:r>
              <a:rPr lang="de-DE" sz="1600" dirty="0" err="1"/>
              <a:t>be</a:t>
            </a:r>
            <a:r>
              <a:rPr lang="de-DE" sz="1600" dirty="0"/>
              <a:t> valid </a:t>
            </a:r>
            <a:r>
              <a:rPr lang="de-DE" sz="1600" dirty="0" err="1"/>
              <a:t>for</a:t>
            </a:r>
            <a:r>
              <a:rPr lang="de-DE" sz="1600" dirty="0"/>
              <a:t> „</a:t>
            </a:r>
            <a:r>
              <a:rPr lang="de-DE" sz="1600" dirty="0" err="1"/>
              <a:t>rest</a:t>
            </a:r>
            <a:r>
              <a:rPr lang="de-DE" sz="1600" dirty="0"/>
              <a:t> </a:t>
            </a:r>
            <a:r>
              <a:rPr lang="de-DE" sz="1600" dirty="0" err="1"/>
              <a:t>of</a:t>
            </a:r>
            <a:r>
              <a:rPr lang="de-DE" sz="1600" dirty="0"/>
              <a:t> Europe“.</a:t>
            </a:r>
          </a:p>
          <a:p>
            <a:pPr lvl="1"/>
            <a:r>
              <a:rPr lang="de-DE" sz="1600" dirty="0" err="1"/>
              <a:t>What</a:t>
            </a:r>
            <a:r>
              <a:rPr lang="de-DE" sz="1600" dirty="0"/>
              <a:t> </a:t>
            </a:r>
            <a:r>
              <a:rPr lang="de-DE" sz="1600" dirty="0" err="1"/>
              <a:t>about</a:t>
            </a:r>
            <a:r>
              <a:rPr lang="de-DE" sz="1600" dirty="0"/>
              <a:t> VIO </a:t>
            </a:r>
            <a:r>
              <a:rPr lang="de-DE" sz="1600" dirty="0" err="1"/>
              <a:t>files</a:t>
            </a:r>
            <a:r>
              <a:rPr lang="de-DE" sz="1600" dirty="0"/>
              <a:t> </a:t>
            </a:r>
            <a:r>
              <a:rPr lang="de-DE" sz="1600" dirty="0" err="1"/>
              <a:t>with</a:t>
            </a:r>
            <a:r>
              <a:rPr lang="de-DE" sz="1600" dirty="0"/>
              <a:t> </a:t>
            </a:r>
            <a:r>
              <a:rPr lang="de-DE" sz="1600" dirty="0" err="1"/>
              <a:t>little</a:t>
            </a:r>
            <a:r>
              <a:rPr lang="de-DE" sz="1600" dirty="0"/>
              <a:t> </a:t>
            </a:r>
            <a:r>
              <a:rPr lang="de-DE" sz="1600" dirty="0" err="1"/>
              <a:t>information</a:t>
            </a:r>
            <a:r>
              <a:rPr lang="de-DE" sz="1600" dirty="0"/>
              <a:t> (e.g. </a:t>
            </a:r>
            <a:r>
              <a:rPr lang="de-DE" sz="1600" dirty="0" err="1"/>
              <a:t>only</a:t>
            </a:r>
            <a:r>
              <a:rPr lang="de-DE" sz="1600" dirty="0"/>
              <a:t> </a:t>
            </a:r>
            <a:r>
              <a:rPr lang="de-DE" sz="1600" dirty="0" err="1"/>
              <a:t>make</a:t>
            </a:r>
            <a:r>
              <a:rPr lang="de-DE" sz="1600" dirty="0"/>
              <a:t> and </a:t>
            </a:r>
            <a:r>
              <a:rPr lang="de-DE" sz="1600" dirty="0" err="1"/>
              <a:t>model</a:t>
            </a:r>
            <a:r>
              <a:rPr lang="de-DE" sz="1600" dirty="0"/>
              <a:t>)? </a:t>
            </a:r>
            <a:r>
              <a:rPr lang="de-DE" sz="1600" dirty="0" err="1"/>
              <a:t>How</a:t>
            </a:r>
            <a:r>
              <a:rPr lang="de-DE" sz="1600" dirty="0"/>
              <a:t> will VIO </a:t>
            </a:r>
            <a:r>
              <a:rPr lang="de-DE" sz="1600" dirty="0" err="1"/>
              <a:t>determine</a:t>
            </a:r>
            <a:r>
              <a:rPr lang="de-DE" sz="1600" dirty="0"/>
              <a:t> </a:t>
            </a:r>
            <a:r>
              <a:rPr lang="de-DE" sz="1600" dirty="0" err="1"/>
              <a:t>the</a:t>
            </a:r>
            <a:r>
              <a:rPr lang="de-DE" sz="1600" dirty="0"/>
              <a:t> </a:t>
            </a:r>
            <a:r>
              <a:rPr lang="de-DE" sz="1600" dirty="0" err="1"/>
              <a:t>figures</a:t>
            </a:r>
            <a:r>
              <a:rPr lang="de-DE" sz="1600" dirty="0"/>
              <a:t>?</a:t>
            </a:r>
          </a:p>
          <a:p>
            <a:pPr lvl="1"/>
            <a:r>
              <a:rPr lang="de-DE" sz="1600" dirty="0" err="1"/>
              <a:t>How</a:t>
            </a:r>
            <a:r>
              <a:rPr lang="de-DE" sz="1600" dirty="0"/>
              <a:t> </a:t>
            </a:r>
            <a:r>
              <a:rPr lang="de-DE" sz="1600" dirty="0" err="1"/>
              <a:t>does</a:t>
            </a:r>
            <a:r>
              <a:rPr lang="de-DE" sz="1600" dirty="0"/>
              <a:t> VIO </a:t>
            </a:r>
            <a:r>
              <a:rPr lang="de-DE" sz="1600" dirty="0" err="1"/>
              <a:t>see</a:t>
            </a:r>
            <a:r>
              <a:rPr lang="de-DE" sz="1600" dirty="0"/>
              <a:t> </a:t>
            </a:r>
            <a:r>
              <a:rPr lang="de-DE" sz="1600" dirty="0" err="1"/>
              <a:t>the</a:t>
            </a:r>
            <a:r>
              <a:rPr lang="de-DE" sz="1600" dirty="0"/>
              <a:t> </a:t>
            </a:r>
            <a:r>
              <a:rPr lang="de-DE" sz="1600" dirty="0" err="1"/>
              <a:t>difference</a:t>
            </a:r>
            <a:r>
              <a:rPr lang="de-DE" sz="1600" dirty="0"/>
              <a:t> </a:t>
            </a:r>
            <a:r>
              <a:rPr lang="de-DE" sz="1600" dirty="0" err="1"/>
              <a:t>between</a:t>
            </a:r>
            <a:r>
              <a:rPr lang="de-DE" sz="1600" dirty="0"/>
              <a:t> </a:t>
            </a:r>
            <a:r>
              <a:rPr lang="de-DE" sz="1600" dirty="0" err="1"/>
              <a:t>flagged</a:t>
            </a:r>
            <a:r>
              <a:rPr lang="de-DE" sz="1600" dirty="0"/>
              <a:t> countries and not </a:t>
            </a:r>
            <a:r>
              <a:rPr lang="de-DE" sz="1600" dirty="0" err="1"/>
              <a:t>flagged</a:t>
            </a:r>
            <a:r>
              <a:rPr lang="de-DE" sz="1600" dirty="0"/>
              <a:t> countries?</a:t>
            </a:r>
          </a:p>
          <a:p>
            <a:pPr lvl="1"/>
            <a:r>
              <a:rPr lang="de-DE" sz="1600" dirty="0"/>
              <a:t>Time </a:t>
            </a:r>
            <a:r>
              <a:rPr lang="de-DE" sz="1600" dirty="0" err="1"/>
              <a:t>consuming</a:t>
            </a:r>
            <a:endParaRPr lang="de-DE" sz="1600" dirty="0"/>
          </a:p>
          <a:p>
            <a:pPr lvl="1"/>
            <a:r>
              <a:rPr lang="de-DE" sz="1600" dirty="0" err="1"/>
              <a:t>How</a:t>
            </a:r>
            <a:r>
              <a:rPr lang="de-DE" sz="1600" dirty="0"/>
              <a:t> do </a:t>
            </a:r>
            <a:r>
              <a:rPr lang="de-DE" sz="1600" dirty="0" err="1"/>
              <a:t>you</a:t>
            </a:r>
            <a:r>
              <a:rPr lang="de-DE" sz="1600" dirty="0"/>
              <a:t> </a:t>
            </a:r>
            <a:r>
              <a:rPr lang="de-DE" sz="1600" dirty="0" err="1"/>
              <a:t>see</a:t>
            </a:r>
            <a:r>
              <a:rPr lang="de-DE" sz="1600" dirty="0"/>
              <a:t> </a:t>
            </a:r>
            <a:r>
              <a:rPr lang="de-DE" sz="1600" dirty="0" err="1"/>
              <a:t>the</a:t>
            </a:r>
            <a:r>
              <a:rPr lang="de-DE" sz="1600" dirty="0"/>
              <a:t> </a:t>
            </a:r>
            <a:r>
              <a:rPr lang="de-DE" sz="1600" dirty="0" err="1"/>
              <a:t>difference</a:t>
            </a:r>
            <a:r>
              <a:rPr lang="de-DE" sz="1600" dirty="0"/>
              <a:t> in RDM </a:t>
            </a:r>
            <a:r>
              <a:rPr lang="de-DE" sz="1600" dirty="0" err="1"/>
              <a:t>between</a:t>
            </a:r>
            <a:r>
              <a:rPr lang="de-DE" sz="1600" dirty="0"/>
              <a:t> </a:t>
            </a:r>
            <a:r>
              <a:rPr lang="de-DE" sz="1600" dirty="0" err="1"/>
              <a:t>confirmed</a:t>
            </a:r>
            <a:r>
              <a:rPr lang="de-DE" sz="1600" dirty="0"/>
              <a:t> countries and </a:t>
            </a:r>
            <a:r>
              <a:rPr lang="de-DE" sz="1600" dirty="0" err="1"/>
              <a:t>other</a:t>
            </a:r>
            <a:r>
              <a:rPr lang="de-DE" sz="1600" dirty="0"/>
              <a:t> countries?</a:t>
            </a:r>
          </a:p>
          <a:p>
            <a:pPr marL="0" lvl="1" indent="0">
              <a:buNone/>
            </a:pPr>
            <a:endParaRPr lang="de-DE" dirty="0"/>
          </a:p>
        </p:txBody>
      </p:sp>
      <p:sp>
        <p:nvSpPr>
          <p:cNvPr id="61" name="Datumsplatzhalter 60">
            <a:extLst>
              <a:ext uri="{FF2B5EF4-FFF2-40B4-BE49-F238E27FC236}">
                <a16:creationId xmlns:a16="http://schemas.microsoft.com/office/drawing/2014/main" id="{34374D78-12BB-B444-A427-0AAF5580127F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11569E26-B259-441A-AB67-0E4FB6617FAE}" type="datetime1">
              <a:rPr lang="de-DE" smtClean="0"/>
              <a:t>05.08.2020</a:t>
            </a:fld>
            <a:endParaRPr lang="de-DE" dirty="0"/>
          </a:p>
        </p:txBody>
      </p:sp>
      <p:sp>
        <p:nvSpPr>
          <p:cNvPr id="62" name="Fußzeilenplatzhalter 61">
            <a:extLst>
              <a:ext uri="{FF2B5EF4-FFF2-40B4-BE49-F238E27FC236}">
                <a16:creationId xmlns:a16="http://schemas.microsoft.com/office/drawing/2014/main" id="{1FBB51AE-0257-0B45-A7EA-2454242A964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© TecAlliance GmbH</a:t>
            </a:r>
            <a:endParaRPr lang="de-DE" dirty="0"/>
          </a:p>
        </p:txBody>
      </p:sp>
      <p:sp>
        <p:nvSpPr>
          <p:cNvPr id="63" name="Foliennummernplatzhalter 62">
            <a:extLst>
              <a:ext uri="{FF2B5EF4-FFF2-40B4-BE49-F238E27FC236}">
                <a16:creationId xmlns:a16="http://schemas.microsoft.com/office/drawing/2014/main" id="{9FFC1842-562F-F14A-B90F-3FDBEF9BC95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CE82B8A1-0CCE-4815-9668-383D7DE7D8B4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BD57593-CCF6-4357-B1FC-7417C7FB3551}"/>
              </a:ext>
            </a:extLst>
          </p:cNvPr>
          <p:cNvSpPr txBox="1"/>
          <p:nvPr/>
        </p:nvSpPr>
        <p:spPr>
          <a:xfrm>
            <a:off x="441325" y="1196752"/>
            <a:ext cx="1084004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Audi, A3, 1591cc, 120kw, FWD, 4cyl, 16valves, HB, LR</a:t>
            </a:r>
          </a:p>
          <a:p>
            <a:r>
              <a:rPr lang="en-US" dirty="0"/>
              <a:t>Audi, A3, 1591cc, 110kw, FWD, 4cyl, 16valves, HB, L, … </a:t>
            </a:r>
          </a:p>
        </p:txBody>
      </p:sp>
    </p:spTree>
    <p:extLst>
      <p:ext uri="{BB962C8B-B14F-4D97-AF65-F5344CB8AC3E}">
        <p14:creationId xmlns:p14="http://schemas.microsoft.com/office/powerpoint/2010/main" val="148206245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el 29">
            <a:extLst>
              <a:ext uri="{FF2B5EF4-FFF2-40B4-BE49-F238E27FC236}">
                <a16:creationId xmlns:a16="http://schemas.microsoft.com/office/drawing/2014/main" id="{EAD82C36-2C96-F34B-AC0A-22D5FA9B48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ultiple </a:t>
            </a:r>
            <a:r>
              <a:rPr lang="de-DE" dirty="0" err="1"/>
              <a:t>model</a:t>
            </a:r>
            <a:r>
              <a:rPr lang="de-DE" dirty="0"/>
              <a:t> </a:t>
            </a:r>
            <a:r>
              <a:rPr lang="de-DE" dirty="0" err="1"/>
              <a:t>name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Europe (</a:t>
            </a:r>
            <a:r>
              <a:rPr lang="de-DE" dirty="0" err="1"/>
              <a:t>without</a:t>
            </a:r>
            <a:r>
              <a:rPr lang="de-DE" dirty="0"/>
              <a:t> Websitecheck)</a:t>
            </a:r>
          </a:p>
        </p:txBody>
      </p:sp>
      <p:sp>
        <p:nvSpPr>
          <p:cNvPr id="31" name="Textplatzhalter 30">
            <a:extLst>
              <a:ext uri="{FF2B5EF4-FFF2-40B4-BE49-F238E27FC236}">
                <a16:creationId xmlns:a16="http://schemas.microsoft.com/office/drawing/2014/main" id="{12ACFFC6-03B9-D746-BAB9-2679FD89F52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4262" y="2303236"/>
            <a:ext cx="5364163" cy="388144"/>
          </a:xfrm>
        </p:spPr>
        <p:txBody>
          <a:bodyPr/>
          <a:lstStyle/>
          <a:p>
            <a:r>
              <a:rPr lang="de-DE" dirty="0" err="1"/>
              <a:t>Pro‘s</a:t>
            </a:r>
            <a:r>
              <a:rPr lang="de-DE" dirty="0"/>
              <a:t> </a:t>
            </a:r>
            <a:r>
              <a:rPr lang="de-DE" dirty="0" err="1"/>
              <a:t>adding</a:t>
            </a:r>
            <a:r>
              <a:rPr lang="de-DE" dirty="0"/>
              <a:t> all EU countries</a:t>
            </a:r>
          </a:p>
          <a:p>
            <a:r>
              <a:rPr lang="de-DE" dirty="0"/>
              <a:t>	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4654D89B-1A50-0442-8F4D-7846FBB461C6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41325" y="2691380"/>
            <a:ext cx="5364163" cy="3474644"/>
          </a:xfrm>
        </p:spPr>
        <p:txBody>
          <a:bodyPr/>
          <a:lstStyle/>
          <a:p>
            <a:pPr lvl="1"/>
            <a:r>
              <a:rPr lang="de-DE" sz="1600" dirty="0"/>
              <a:t>All </a:t>
            </a:r>
            <a:r>
              <a:rPr lang="de-DE" sz="1600" dirty="0" err="1"/>
              <a:t>vehicles</a:t>
            </a:r>
            <a:r>
              <a:rPr lang="de-DE" sz="1600" dirty="0"/>
              <a:t> </a:t>
            </a:r>
            <a:r>
              <a:rPr lang="de-DE" sz="1600" dirty="0" err="1"/>
              <a:t>are</a:t>
            </a:r>
            <a:r>
              <a:rPr lang="de-DE" sz="1600" dirty="0"/>
              <a:t> </a:t>
            </a:r>
            <a:r>
              <a:rPr lang="de-DE" sz="1600" dirty="0" err="1"/>
              <a:t>available</a:t>
            </a:r>
            <a:r>
              <a:rPr lang="de-DE" sz="1600" dirty="0"/>
              <a:t> </a:t>
            </a:r>
            <a:r>
              <a:rPr lang="de-DE" sz="1600" dirty="0" err="1"/>
              <a:t>for</a:t>
            </a:r>
            <a:r>
              <a:rPr lang="de-DE" sz="1600" dirty="0"/>
              <a:t> Europe.</a:t>
            </a:r>
          </a:p>
          <a:p>
            <a:pPr lvl="1"/>
            <a:r>
              <a:rPr lang="de-DE" sz="1600" dirty="0" err="1"/>
              <a:t>When</a:t>
            </a:r>
            <a:r>
              <a:rPr lang="de-DE" sz="1600" dirty="0"/>
              <a:t> </a:t>
            </a:r>
            <a:r>
              <a:rPr lang="de-DE" sz="1600" dirty="0" err="1"/>
              <a:t>the</a:t>
            </a:r>
            <a:r>
              <a:rPr lang="de-DE" sz="1600" dirty="0"/>
              <a:t> </a:t>
            </a:r>
            <a:r>
              <a:rPr lang="de-DE" sz="1600" dirty="0" err="1"/>
              <a:t>vehicle</a:t>
            </a:r>
            <a:r>
              <a:rPr lang="de-DE" sz="1600" dirty="0"/>
              <a:t> </a:t>
            </a:r>
            <a:r>
              <a:rPr lang="de-DE" sz="1600" dirty="0" err="1"/>
              <a:t>appears</a:t>
            </a:r>
            <a:r>
              <a:rPr lang="de-DE" sz="1600" dirty="0"/>
              <a:t> </a:t>
            </a:r>
            <a:r>
              <a:rPr lang="de-DE" sz="1600" dirty="0" err="1"/>
              <a:t>with</a:t>
            </a:r>
            <a:r>
              <a:rPr lang="de-DE" sz="1600" dirty="0"/>
              <a:t> </a:t>
            </a:r>
            <a:r>
              <a:rPr lang="de-DE" sz="1600" dirty="0" err="1"/>
              <a:t>the</a:t>
            </a:r>
            <a:r>
              <a:rPr lang="de-DE" sz="1600" dirty="0"/>
              <a:t> </a:t>
            </a:r>
            <a:r>
              <a:rPr lang="de-DE" sz="1600" dirty="0" err="1"/>
              <a:t>specifications</a:t>
            </a:r>
            <a:r>
              <a:rPr lang="de-DE" sz="1600" dirty="0"/>
              <a:t> in VIO </a:t>
            </a:r>
            <a:r>
              <a:rPr lang="de-DE" sz="1600" dirty="0" err="1"/>
              <a:t>files</a:t>
            </a:r>
            <a:r>
              <a:rPr lang="de-DE" sz="1600" dirty="0"/>
              <a:t>, </a:t>
            </a:r>
            <a:r>
              <a:rPr lang="de-DE" sz="1600" dirty="0" err="1"/>
              <a:t>they</a:t>
            </a:r>
            <a:r>
              <a:rPr lang="de-DE" sz="1600" dirty="0"/>
              <a:t> </a:t>
            </a:r>
            <a:r>
              <a:rPr lang="de-DE" sz="1600" dirty="0" err="1"/>
              <a:t>can</a:t>
            </a:r>
            <a:r>
              <a:rPr lang="de-DE" sz="1600" dirty="0"/>
              <a:t> </a:t>
            </a:r>
            <a:r>
              <a:rPr lang="de-DE" sz="1600" dirty="0" err="1"/>
              <a:t>add</a:t>
            </a:r>
            <a:r>
              <a:rPr lang="de-DE" sz="1600" dirty="0"/>
              <a:t> </a:t>
            </a:r>
            <a:r>
              <a:rPr lang="de-DE" sz="1600" dirty="0" err="1"/>
              <a:t>the</a:t>
            </a:r>
            <a:r>
              <a:rPr lang="de-DE" sz="1600" dirty="0"/>
              <a:t> </a:t>
            </a:r>
            <a:r>
              <a:rPr lang="de-DE" sz="1600" dirty="0" err="1"/>
              <a:t>figures</a:t>
            </a:r>
            <a:r>
              <a:rPr lang="de-DE" sz="1600" dirty="0"/>
              <a:t> </a:t>
            </a:r>
            <a:r>
              <a:rPr lang="de-DE" sz="1600" dirty="0" err="1"/>
              <a:t>without</a:t>
            </a:r>
            <a:r>
              <a:rPr lang="de-DE" sz="1600" dirty="0"/>
              <a:t> extra </a:t>
            </a:r>
            <a:r>
              <a:rPr lang="de-DE" sz="1600" dirty="0" err="1"/>
              <a:t>work</a:t>
            </a:r>
            <a:r>
              <a:rPr lang="de-DE" sz="1600" dirty="0"/>
              <a:t> </a:t>
            </a:r>
            <a:r>
              <a:rPr lang="de-DE" sz="1600" dirty="0" err="1"/>
              <a:t>of</a:t>
            </a:r>
            <a:r>
              <a:rPr lang="de-DE" sz="1600" dirty="0"/>
              <a:t> </a:t>
            </a:r>
            <a:r>
              <a:rPr lang="de-DE" sz="1600" dirty="0" err="1"/>
              <a:t>adding</a:t>
            </a:r>
            <a:r>
              <a:rPr lang="de-DE" sz="1600" dirty="0"/>
              <a:t> countries.</a:t>
            </a:r>
          </a:p>
          <a:p>
            <a:pPr lvl="1"/>
            <a:r>
              <a:rPr lang="de-DE" sz="1600" dirty="0" err="1"/>
              <a:t>It</a:t>
            </a:r>
            <a:r>
              <a:rPr lang="de-DE" sz="1600" dirty="0"/>
              <a:t> </a:t>
            </a:r>
            <a:r>
              <a:rPr lang="de-DE" sz="1600" dirty="0" err="1"/>
              <a:t>saves</a:t>
            </a:r>
            <a:r>
              <a:rPr lang="de-DE" sz="1600" dirty="0"/>
              <a:t> a </a:t>
            </a:r>
            <a:r>
              <a:rPr lang="de-DE" sz="1600" dirty="0" err="1"/>
              <a:t>lot</a:t>
            </a:r>
            <a:r>
              <a:rPr lang="de-DE" sz="1600" dirty="0"/>
              <a:t> </a:t>
            </a:r>
            <a:r>
              <a:rPr lang="de-DE" sz="1600" dirty="0" err="1"/>
              <a:t>of</a:t>
            </a:r>
            <a:r>
              <a:rPr lang="de-DE" sz="1600" dirty="0"/>
              <a:t> time </a:t>
            </a:r>
            <a:r>
              <a:rPr lang="de-DE" sz="1600" dirty="0" err="1"/>
              <a:t>because</a:t>
            </a:r>
            <a:r>
              <a:rPr lang="de-DE" sz="1600" dirty="0"/>
              <a:t> </a:t>
            </a:r>
            <a:r>
              <a:rPr lang="de-DE" sz="1600" dirty="0" err="1"/>
              <a:t>we</a:t>
            </a:r>
            <a:r>
              <a:rPr lang="de-DE" sz="1600" dirty="0"/>
              <a:t> do not </a:t>
            </a:r>
            <a:r>
              <a:rPr lang="de-DE" sz="1600" dirty="0" err="1"/>
              <a:t>have</a:t>
            </a:r>
            <a:r>
              <a:rPr lang="de-DE" sz="1600" dirty="0"/>
              <a:t> </a:t>
            </a:r>
            <a:r>
              <a:rPr lang="de-DE" sz="1600" dirty="0" err="1"/>
              <a:t>to</a:t>
            </a:r>
            <a:r>
              <a:rPr lang="de-DE" sz="1600" dirty="0"/>
              <a:t> do websitecheck.</a:t>
            </a:r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EFCA20D3-8A2A-F744-945E-57A4C39435A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20791" y="2303236"/>
            <a:ext cx="5364163" cy="388144"/>
          </a:xfrm>
        </p:spPr>
        <p:txBody>
          <a:bodyPr/>
          <a:lstStyle/>
          <a:p>
            <a:r>
              <a:rPr lang="de-DE" dirty="0"/>
              <a:t>Contra </a:t>
            </a:r>
            <a:r>
              <a:rPr lang="de-DE" dirty="0" err="1"/>
              <a:t>adding</a:t>
            </a:r>
            <a:r>
              <a:rPr lang="de-DE" dirty="0"/>
              <a:t> all EU countrie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229F4F4-0B02-9845-A256-CE9CEA94173A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387854" y="2691378"/>
            <a:ext cx="5364163" cy="3474644"/>
          </a:xfrm>
        </p:spPr>
        <p:txBody>
          <a:bodyPr/>
          <a:lstStyle/>
          <a:p>
            <a:pPr lvl="1"/>
            <a:r>
              <a:rPr lang="de-DE" sz="1600" dirty="0" err="1"/>
              <a:t>When</a:t>
            </a:r>
            <a:r>
              <a:rPr lang="de-DE" sz="1600" dirty="0"/>
              <a:t> </a:t>
            </a:r>
            <a:r>
              <a:rPr lang="de-DE" sz="1600" dirty="0" err="1"/>
              <a:t>there</a:t>
            </a:r>
            <a:r>
              <a:rPr lang="de-DE" sz="1600" dirty="0"/>
              <a:t> </a:t>
            </a:r>
            <a:r>
              <a:rPr lang="de-DE" sz="1600" dirty="0" err="1"/>
              <a:t>are</a:t>
            </a:r>
            <a:r>
              <a:rPr lang="de-DE" sz="1600" dirty="0"/>
              <a:t> </a:t>
            </a:r>
            <a:r>
              <a:rPr lang="de-DE" sz="1600" dirty="0" err="1"/>
              <a:t>vehicles</a:t>
            </a:r>
            <a:r>
              <a:rPr lang="de-DE" sz="1600" dirty="0"/>
              <a:t> </a:t>
            </a:r>
            <a:r>
              <a:rPr lang="de-DE" sz="1600" dirty="0" err="1"/>
              <a:t>for</a:t>
            </a:r>
            <a:r>
              <a:rPr lang="de-DE" sz="1600" dirty="0"/>
              <a:t> LHD </a:t>
            </a:r>
            <a:r>
              <a:rPr lang="de-DE" sz="1600" dirty="0" err="1"/>
              <a:t>only</a:t>
            </a:r>
            <a:r>
              <a:rPr lang="de-DE" sz="1600" dirty="0"/>
              <a:t>, </a:t>
            </a:r>
            <a:r>
              <a:rPr lang="de-DE" sz="1600" dirty="0" err="1"/>
              <a:t>they</a:t>
            </a:r>
            <a:r>
              <a:rPr lang="de-DE" sz="1600" dirty="0"/>
              <a:t> will also </a:t>
            </a:r>
            <a:r>
              <a:rPr lang="de-DE" sz="1600" dirty="0" err="1"/>
              <a:t>get</a:t>
            </a:r>
            <a:r>
              <a:rPr lang="de-DE" sz="1600" dirty="0"/>
              <a:t> RHD countries </a:t>
            </a:r>
            <a:r>
              <a:rPr lang="de-DE" sz="1600" dirty="0" err="1"/>
              <a:t>added</a:t>
            </a:r>
            <a:r>
              <a:rPr lang="de-DE" sz="1600" dirty="0"/>
              <a:t> and vice </a:t>
            </a:r>
            <a:r>
              <a:rPr lang="de-DE" sz="1600" dirty="0" err="1"/>
              <a:t>versa</a:t>
            </a:r>
            <a:r>
              <a:rPr lang="de-DE" sz="1600" dirty="0"/>
              <a:t>.</a:t>
            </a:r>
          </a:p>
          <a:p>
            <a:pPr lvl="1"/>
            <a:r>
              <a:rPr lang="de-DE" sz="1600" dirty="0" err="1"/>
              <a:t>When</a:t>
            </a:r>
            <a:r>
              <a:rPr lang="de-DE" sz="1600" dirty="0"/>
              <a:t> </a:t>
            </a:r>
            <a:r>
              <a:rPr lang="de-DE" sz="1600" dirty="0" err="1"/>
              <a:t>there</a:t>
            </a:r>
            <a:r>
              <a:rPr lang="de-DE" sz="1600" dirty="0"/>
              <a:t> </a:t>
            </a:r>
            <a:r>
              <a:rPr lang="de-DE" sz="1600" dirty="0" err="1"/>
              <a:t>is</a:t>
            </a:r>
            <a:r>
              <a:rPr lang="de-DE" sz="1600" dirty="0"/>
              <a:t> a </a:t>
            </a:r>
            <a:r>
              <a:rPr lang="de-DE" sz="1600" dirty="0" err="1"/>
              <a:t>vehicle</a:t>
            </a:r>
            <a:r>
              <a:rPr lang="de-DE" sz="1600" dirty="0"/>
              <a:t> </a:t>
            </a:r>
            <a:r>
              <a:rPr lang="de-DE" sz="1600" dirty="0" err="1"/>
              <a:t>for</a:t>
            </a:r>
            <a:r>
              <a:rPr lang="de-DE" sz="1600" dirty="0"/>
              <a:t> a </a:t>
            </a:r>
            <a:r>
              <a:rPr lang="de-DE" sz="1600" dirty="0" err="1"/>
              <a:t>specific</a:t>
            </a:r>
            <a:r>
              <a:rPr lang="de-DE" sz="1600" dirty="0"/>
              <a:t> </a:t>
            </a:r>
            <a:r>
              <a:rPr lang="de-DE" sz="1600" dirty="0" err="1"/>
              <a:t>country</a:t>
            </a:r>
            <a:r>
              <a:rPr lang="de-DE" sz="1600" dirty="0"/>
              <a:t>/</a:t>
            </a:r>
            <a:r>
              <a:rPr lang="de-DE" sz="1600" dirty="0" err="1"/>
              <a:t>region</a:t>
            </a:r>
            <a:r>
              <a:rPr lang="de-DE" sz="1600" dirty="0"/>
              <a:t> (e.g. </a:t>
            </a:r>
            <a:r>
              <a:rPr lang="de-DE" sz="1600" dirty="0" err="1"/>
              <a:t>less</a:t>
            </a:r>
            <a:r>
              <a:rPr lang="de-DE" sz="1600" dirty="0"/>
              <a:t> power BMW </a:t>
            </a:r>
            <a:r>
              <a:rPr lang="de-DE" sz="1600" dirty="0" err="1"/>
              <a:t>Belgium</a:t>
            </a:r>
            <a:r>
              <a:rPr lang="de-DE" sz="1600" dirty="0"/>
              <a:t>) </a:t>
            </a:r>
            <a:r>
              <a:rPr lang="de-DE" sz="1600" dirty="0" err="1"/>
              <a:t>it</a:t>
            </a:r>
            <a:r>
              <a:rPr lang="de-DE" sz="1600" dirty="0"/>
              <a:t> will also </a:t>
            </a:r>
            <a:r>
              <a:rPr lang="de-DE" sz="1600" dirty="0" err="1"/>
              <a:t>be</a:t>
            </a:r>
            <a:r>
              <a:rPr lang="de-DE" sz="1600" dirty="0"/>
              <a:t> valid </a:t>
            </a:r>
            <a:r>
              <a:rPr lang="de-DE" sz="1600" dirty="0" err="1"/>
              <a:t>for</a:t>
            </a:r>
            <a:r>
              <a:rPr lang="de-DE" sz="1600" dirty="0"/>
              <a:t> „</a:t>
            </a:r>
            <a:r>
              <a:rPr lang="de-DE" sz="1600" dirty="0" err="1"/>
              <a:t>rest</a:t>
            </a:r>
            <a:r>
              <a:rPr lang="de-DE" sz="1600" dirty="0"/>
              <a:t> </a:t>
            </a:r>
            <a:r>
              <a:rPr lang="de-DE" sz="1600" dirty="0" err="1"/>
              <a:t>of</a:t>
            </a:r>
            <a:r>
              <a:rPr lang="de-DE" sz="1600" dirty="0"/>
              <a:t> Europe“.</a:t>
            </a:r>
          </a:p>
          <a:p>
            <a:pPr lvl="1"/>
            <a:r>
              <a:rPr lang="de-DE" sz="1600" dirty="0" err="1"/>
              <a:t>When</a:t>
            </a:r>
            <a:r>
              <a:rPr lang="de-DE" sz="1600" dirty="0"/>
              <a:t> </a:t>
            </a:r>
            <a:r>
              <a:rPr lang="de-DE" sz="1600" dirty="0" err="1"/>
              <a:t>there</a:t>
            </a:r>
            <a:r>
              <a:rPr lang="de-DE" sz="1600" dirty="0"/>
              <a:t> </a:t>
            </a:r>
            <a:r>
              <a:rPr lang="de-DE" sz="1600" dirty="0" err="1"/>
              <a:t>is</a:t>
            </a:r>
            <a:r>
              <a:rPr lang="de-DE" sz="1600" dirty="0"/>
              <a:t> a VIO </a:t>
            </a:r>
            <a:r>
              <a:rPr lang="de-DE" sz="1600" dirty="0" err="1"/>
              <a:t>file</a:t>
            </a:r>
            <a:r>
              <a:rPr lang="de-DE" sz="1600" dirty="0"/>
              <a:t> </a:t>
            </a:r>
            <a:r>
              <a:rPr lang="de-DE" sz="1600" dirty="0" err="1"/>
              <a:t>with</a:t>
            </a:r>
            <a:r>
              <a:rPr lang="de-DE" sz="1600" dirty="0"/>
              <a:t> </a:t>
            </a:r>
            <a:r>
              <a:rPr lang="de-DE" sz="1600" dirty="0" err="1"/>
              <a:t>little</a:t>
            </a:r>
            <a:r>
              <a:rPr lang="de-DE" sz="1600" dirty="0"/>
              <a:t> </a:t>
            </a:r>
            <a:r>
              <a:rPr lang="de-DE" sz="1600" dirty="0" err="1"/>
              <a:t>information</a:t>
            </a:r>
            <a:r>
              <a:rPr lang="de-DE" sz="1600" dirty="0"/>
              <a:t> (e.g. </a:t>
            </a:r>
            <a:r>
              <a:rPr lang="de-DE" sz="1600" dirty="0" err="1"/>
              <a:t>only</a:t>
            </a:r>
            <a:r>
              <a:rPr lang="de-DE" sz="1600" dirty="0"/>
              <a:t> </a:t>
            </a:r>
            <a:r>
              <a:rPr lang="de-DE" sz="1600" dirty="0" err="1"/>
              <a:t>make</a:t>
            </a:r>
            <a:r>
              <a:rPr lang="de-DE" sz="1600" dirty="0"/>
              <a:t> and </a:t>
            </a:r>
            <a:r>
              <a:rPr lang="de-DE" sz="1600" dirty="0" err="1"/>
              <a:t>model</a:t>
            </a:r>
            <a:r>
              <a:rPr lang="de-DE" sz="1600" dirty="0"/>
              <a:t>) </a:t>
            </a:r>
            <a:r>
              <a:rPr lang="de-DE" sz="1600" dirty="0" err="1"/>
              <a:t>vehicles</a:t>
            </a:r>
            <a:r>
              <a:rPr lang="de-DE" sz="1600" dirty="0"/>
              <a:t> will </a:t>
            </a:r>
            <a:r>
              <a:rPr lang="de-DE" sz="1600" dirty="0" err="1"/>
              <a:t>reveive</a:t>
            </a:r>
            <a:r>
              <a:rPr lang="de-DE" sz="1600" dirty="0"/>
              <a:t> </a:t>
            </a:r>
            <a:r>
              <a:rPr lang="de-DE" sz="1600" dirty="0" err="1"/>
              <a:t>figures</a:t>
            </a:r>
            <a:r>
              <a:rPr lang="de-DE" sz="1600" dirty="0"/>
              <a:t> </a:t>
            </a:r>
            <a:r>
              <a:rPr lang="de-DE" sz="1600" dirty="0" err="1"/>
              <a:t>while</a:t>
            </a:r>
            <a:r>
              <a:rPr lang="de-DE" sz="1600" dirty="0"/>
              <a:t> </a:t>
            </a:r>
            <a:r>
              <a:rPr lang="de-DE" sz="1600" dirty="0" err="1"/>
              <a:t>they</a:t>
            </a:r>
            <a:r>
              <a:rPr lang="de-DE" sz="1600" dirty="0"/>
              <a:t> </a:t>
            </a:r>
            <a:r>
              <a:rPr lang="de-DE" sz="1600" dirty="0" err="1"/>
              <a:t>are</a:t>
            </a:r>
            <a:r>
              <a:rPr lang="de-DE" sz="1600" dirty="0"/>
              <a:t> not in </a:t>
            </a:r>
            <a:r>
              <a:rPr lang="de-DE" sz="1600" dirty="0" err="1"/>
              <a:t>the</a:t>
            </a:r>
            <a:r>
              <a:rPr lang="de-DE" sz="1600" dirty="0"/>
              <a:t> </a:t>
            </a:r>
            <a:r>
              <a:rPr lang="de-DE" sz="1600" dirty="0" err="1"/>
              <a:t>country</a:t>
            </a:r>
            <a:r>
              <a:rPr lang="de-DE" sz="1600" dirty="0"/>
              <a:t>.</a:t>
            </a:r>
          </a:p>
          <a:p>
            <a:pPr lvl="1"/>
            <a:r>
              <a:rPr lang="de-DE" sz="1600" dirty="0"/>
              <a:t>Countries will </a:t>
            </a:r>
            <a:r>
              <a:rPr lang="de-DE" sz="1600" dirty="0" err="1"/>
              <a:t>be</a:t>
            </a:r>
            <a:r>
              <a:rPr lang="de-DE" sz="1600" dirty="0"/>
              <a:t> </a:t>
            </a:r>
            <a:r>
              <a:rPr lang="de-DE" sz="1600" dirty="0" err="1"/>
              <a:t>added</a:t>
            </a:r>
            <a:r>
              <a:rPr lang="de-DE" sz="1600" dirty="0"/>
              <a:t> </a:t>
            </a:r>
            <a:r>
              <a:rPr lang="de-DE" sz="1600" dirty="0" err="1"/>
              <a:t>to</a:t>
            </a:r>
            <a:r>
              <a:rPr lang="de-DE" sz="1600" dirty="0"/>
              <a:t> </a:t>
            </a:r>
            <a:r>
              <a:rPr lang="de-DE" sz="1600" dirty="0" err="1"/>
              <a:t>the</a:t>
            </a:r>
            <a:r>
              <a:rPr lang="de-DE" sz="1600" dirty="0"/>
              <a:t> </a:t>
            </a:r>
            <a:r>
              <a:rPr lang="de-DE" sz="1600" dirty="0" err="1"/>
              <a:t>incorrect</a:t>
            </a:r>
            <a:r>
              <a:rPr lang="de-DE" sz="1600" dirty="0"/>
              <a:t> </a:t>
            </a:r>
            <a:r>
              <a:rPr lang="de-DE" sz="1600" dirty="0" err="1"/>
              <a:t>model</a:t>
            </a:r>
            <a:r>
              <a:rPr lang="de-DE" sz="1600" dirty="0"/>
              <a:t> </a:t>
            </a:r>
            <a:r>
              <a:rPr lang="de-DE" sz="1600" dirty="0" err="1"/>
              <a:t>name</a:t>
            </a:r>
            <a:r>
              <a:rPr lang="de-DE" sz="1600" dirty="0"/>
              <a:t>.</a:t>
            </a:r>
          </a:p>
          <a:p>
            <a:pPr lvl="1"/>
            <a:r>
              <a:rPr lang="de-DE" sz="1600" dirty="0" err="1"/>
              <a:t>Difference</a:t>
            </a:r>
            <a:r>
              <a:rPr lang="de-DE" sz="1600" dirty="0"/>
              <a:t> </a:t>
            </a:r>
            <a:r>
              <a:rPr lang="de-DE" sz="1600" dirty="0" err="1"/>
              <a:t>between</a:t>
            </a:r>
            <a:r>
              <a:rPr lang="de-DE" sz="1600" dirty="0"/>
              <a:t> countries </a:t>
            </a:r>
            <a:r>
              <a:rPr lang="de-DE" sz="1600" dirty="0" err="1"/>
              <a:t>of</a:t>
            </a:r>
            <a:r>
              <a:rPr lang="de-DE" sz="1600" dirty="0"/>
              <a:t> BIEB and RDM due </a:t>
            </a:r>
            <a:r>
              <a:rPr lang="de-DE" sz="1600" dirty="0" err="1"/>
              <a:t>to</a:t>
            </a:r>
            <a:r>
              <a:rPr lang="de-DE" sz="1600" dirty="0"/>
              <a:t> different </a:t>
            </a:r>
            <a:r>
              <a:rPr lang="de-DE" sz="1600" dirty="0" err="1"/>
              <a:t>working</a:t>
            </a:r>
            <a:r>
              <a:rPr lang="de-DE" sz="1600" dirty="0"/>
              <a:t> </a:t>
            </a:r>
            <a:r>
              <a:rPr lang="de-DE" sz="1600" dirty="0" err="1"/>
              <a:t>method</a:t>
            </a:r>
            <a:r>
              <a:rPr lang="de-DE" sz="1600" dirty="0"/>
              <a:t> </a:t>
            </a:r>
            <a:r>
              <a:rPr lang="de-DE" sz="1600" dirty="0" err="1"/>
              <a:t>of</a:t>
            </a:r>
            <a:r>
              <a:rPr lang="de-DE" sz="1600" dirty="0"/>
              <a:t> </a:t>
            </a:r>
            <a:r>
              <a:rPr lang="de-DE" sz="1600" dirty="0" err="1"/>
              <a:t>systems</a:t>
            </a:r>
            <a:r>
              <a:rPr lang="de-DE" sz="1600" dirty="0"/>
              <a:t>.</a:t>
            </a:r>
          </a:p>
          <a:p>
            <a:pPr marL="0" lvl="1" indent="0">
              <a:buNone/>
            </a:pPr>
            <a:endParaRPr lang="de-DE" dirty="0"/>
          </a:p>
        </p:txBody>
      </p:sp>
      <p:sp>
        <p:nvSpPr>
          <p:cNvPr id="61" name="Datumsplatzhalter 60">
            <a:extLst>
              <a:ext uri="{FF2B5EF4-FFF2-40B4-BE49-F238E27FC236}">
                <a16:creationId xmlns:a16="http://schemas.microsoft.com/office/drawing/2014/main" id="{34374D78-12BB-B444-A427-0AAF5580127F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11569E26-B259-441A-AB67-0E4FB6617FAE}" type="datetime1">
              <a:rPr lang="de-DE" smtClean="0"/>
              <a:t>05.08.2020</a:t>
            </a:fld>
            <a:endParaRPr lang="de-DE" dirty="0"/>
          </a:p>
        </p:txBody>
      </p:sp>
      <p:sp>
        <p:nvSpPr>
          <p:cNvPr id="62" name="Fußzeilenplatzhalter 61">
            <a:extLst>
              <a:ext uri="{FF2B5EF4-FFF2-40B4-BE49-F238E27FC236}">
                <a16:creationId xmlns:a16="http://schemas.microsoft.com/office/drawing/2014/main" id="{1FBB51AE-0257-0B45-A7EA-2454242A964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© TecAlliance GmbH</a:t>
            </a:r>
            <a:endParaRPr lang="de-DE" dirty="0"/>
          </a:p>
        </p:txBody>
      </p:sp>
      <p:sp>
        <p:nvSpPr>
          <p:cNvPr id="63" name="Foliennummernplatzhalter 62">
            <a:extLst>
              <a:ext uri="{FF2B5EF4-FFF2-40B4-BE49-F238E27FC236}">
                <a16:creationId xmlns:a16="http://schemas.microsoft.com/office/drawing/2014/main" id="{9FFC1842-562F-F14A-B90F-3FDBEF9BC95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CE82B8A1-0CCE-4815-9668-383D7DE7D8B4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BD57593-CCF6-4357-B1FC-7417C7FB3551}"/>
              </a:ext>
            </a:extLst>
          </p:cNvPr>
          <p:cNvSpPr txBox="1"/>
          <p:nvPr/>
        </p:nvSpPr>
        <p:spPr>
          <a:xfrm>
            <a:off x="441325" y="1196752"/>
            <a:ext cx="1084004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itsubishi, Pajero, 1591cc, 120kw, FWD, 4cyl, 16valves, HB, LR, …</a:t>
            </a:r>
          </a:p>
          <a:p>
            <a:r>
              <a:rPr lang="en-US" dirty="0"/>
              <a:t>Mitsubishi, Montero, 1591cc, 120kw, FWD, 4cyl, 16valves, HB, L, …</a:t>
            </a:r>
          </a:p>
          <a:p>
            <a:r>
              <a:rPr lang="en-US" dirty="0"/>
              <a:t>Mitsubishi, Shogun, 1591cc, 120kw, FWD, 4cyl, 16valves, HB, R, …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867999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el 29">
            <a:extLst>
              <a:ext uri="{FF2B5EF4-FFF2-40B4-BE49-F238E27FC236}">
                <a16:creationId xmlns:a16="http://schemas.microsoft.com/office/drawing/2014/main" id="{EAD82C36-2C96-F34B-AC0A-22D5FA9B48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ultiple </a:t>
            </a:r>
            <a:r>
              <a:rPr lang="de-DE" dirty="0" err="1"/>
              <a:t>model</a:t>
            </a:r>
            <a:r>
              <a:rPr lang="de-DE" dirty="0"/>
              <a:t> </a:t>
            </a:r>
            <a:r>
              <a:rPr lang="de-DE" dirty="0" err="1"/>
              <a:t>name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Europe (</a:t>
            </a:r>
            <a:r>
              <a:rPr lang="de-DE" dirty="0" err="1"/>
              <a:t>with</a:t>
            </a:r>
            <a:r>
              <a:rPr lang="de-DE" dirty="0"/>
              <a:t> Websitecheck)</a:t>
            </a:r>
          </a:p>
        </p:txBody>
      </p:sp>
      <p:sp>
        <p:nvSpPr>
          <p:cNvPr id="31" name="Textplatzhalter 30">
            <a:extLst>
              <a:ext uri="{FF2B5EF4-FFF2-40B4-BE49-F238E27FC236}">
                <a16:creationId xmlns:a16="http://schemas.microsoft.com/office/drawing/2014/main" id="{12ACFFC6-03B9-D746-BAB9-2679FD89F52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4262" y="2303236"/>
            <a:ext cx="5364163" cy="388144"/>
          </a:xfrm>
        </p:spPr>
        <p:txBody>
          <a:bodyPr/>
          <a:lstStyle/>
          <a:p>
            <a:r>
              <a:rPr lang="de-DE" dirty="0" err="1"/>
              <a:t>Pro‘s</a:t>
            </a:r>
            <a:r>
              <a:rPr lang="de-DE" dirty="0"/>
              <a:t> </a:t>
            </a:r>
            <a:r>
              <a:rPr lang="de-DE" dirty="0" err="1"/>
              <a:t>adding</a:t>
            </a:r>
            <a:r>
              <a:rPr lang="de-DE" dirty="0"/>
              <a:t> all EU countries</a:t>
            </a:r>
          </a:p>
          <a:p>
            <a:r>
              <a:rPr lang="de-DE" dirty="0"/>
              <a:t>	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4654D89B-1A50-0442-8F4D-7846FBB461C6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41325" y="2691380"/>
            <a:ext cx="5364163" cy="3474644"/>
          </a:xfrm>
        </p:spPr>
        <p:txBody>
          <a:bodyPr/>
          <a:lstStyle/>
          <a:p>
            <a:pPr lvl="1"/>
            <a:r>
              <a:rPr lang="de-DE" sz="1600" dirty="0"/>
              <a:t>All </a:t>
            </a:r>
            <a:r>
              <a:rPr lang="de-DE" sz="1600" dirty="0" err="1"/>
              <a:t>vehicles</a:t>
            </a:r>
            <a:r>
              <a:rPr lang="de-DE" sz="1600" dirty="0"/>
              <a:t> </a:t>
            </a:r>
            <a:r>
              <a:rPr lang="de-DE" sz="1600" dirty="0" err="1"/>
              <a:t>are</a:t>
            </a:r>
            <a:r>
              <a:rPr lang="de-DE" sz="1600" dirty="0"/>
              <a:t> </a:t>
            </a:r>
            <a:r>
              <a:rPr lang="de-DE" sz="1600" dirty="0" err="1"/>
              <a:t>available</a:t>
            </a:r>
            <a:r>
              <a:rPr lang="de-DE" sz="1600" dirty="0"/>
              <a:t> </a:t>
            </a:r>
            <a:r>
              <a:rPr lang="de-DE" sz="1600" dirty="0" err="1"/>
              <a:t>for</a:t>
            </a:r>
            <a:r>
              <a:rPr lang="de-DE" sz="1600" dirty="0"/>
              <a:t> Europe.</a:t>
            </a:r>
          </a:p>
          <a:p>
            <a:pPr lvl="1"/>
            <a:r>
              <a:rPr lang="de-DE" sz="1600" dirty="0" err="1"/>
              <a:t>When</a:t>
            </a:r>
            <a:r>
              <a:rPr lang="de-DE" sz="1600" dirty="0"/>
              <a:t> </a:t>
            </a:r>
            <a:r>
              <a:rPr lang="de-DE" sz="1600" dirty="0" err="1"/>
              <a:t>the</a:t>
            </a:r>
            <a:r>
              <a:rPr lang="de-DE" sz="1600" dirty="0"/>
              <a:t> </a:t>
            </a:r>
            <a:r>
              <a:rPr lang="de-DE" sz="1600" dirty="0" err="1"/>
              <a:t>vehicle</a:t>
            </a:r>
            <a:r>
              <a:rPr lang="de-DE" sz="1600" dirty="0"/>
              <a:t> </a:t>
            </a:r>
            <a:r>
              <a:rPr lang="de-DE" sz="1600" dirty="0" err="1"/>
              <a:t>appears</a:t>
            </a:r>
            <a:r>
              <a:rPr lang="de-DE" sz="1600" dirty="0"/>
              <a:t> </a:t>
            </a:r>
            <a:r>
              <a:rPr lang="de-DE" sz="1600" dirty="0" err="1"/>
              <a:t>with</a:t>
            </a:r>
            <a:r>
              <a:rPr lang="de-DE" sz="1600" dirty="0"/>
              <a:t> </a:t>
            </a:r>
            <a:r>
              <a:rPr lang="de-DE" sz="1600" dirty="0" err="1"/>
              <a:t>the</a:t>
            </a:r>
            <a:r>
              <a:rPr lang="de-DE" sz="1600" dirty="0"/>
              <a:t> </a:t>
            </a:r>
            <a:r>
              <a:rPr lang="de-DE" sz="1600" dirty="0" err="1"/>
              <a:t>specifications</a:t>
            </a:r>
            <a:r>
              <a:rPr lang="de-DE" sz="1600" dirty="0"/>
              <a:t> in VIO </a:t>
            </a:r>
            <a:r>
              <a:rPr lang="de-DE" sz="1600" dirty="0" err="1"/>
              <a:t>files</a:t>
            </a:r>
            <a:r>
              <a:rPr lang="de-DE" sz="1600" dirty="0"/>
              <a:t>, </a:t>
            </a:r>
            <a:r>
              <a:rPr lang="de-DE" sz="1600" dirty="0" err="1"/>
              <a:t>they</a:t>
            </a:r>
            <a:r>
              <a:rPr lang="de-DE" sz="1600" dirty="0"/>
              <a:t> </a:t>
            </a:r>
            <a:r>
              <a:rPr lang="de-DE" sz="1600" dirty="0" err="1"/>
              <a:t>can</a:t>
            </a:r>
            <a:r>
              <a:rPr lang="de-DE" sz="1600" dirty="0"/>
              <a:t> </a:t>
            </a:r>
            <a:r>
              <a:rPr lang="de-DE" sz="1600" dirty="0" err="1"/>
              <a:t>add</a:t>
            </a:r>
            <a:r>
              <a:rPr lang="de-DE" sz="1600" dirty="0"/>
              <a:t> </a:t>
            </a:r>
            <a:r>
              <a:rPr lang="de-DE" sz="1600" dirty="0" err="1"/>
              <a:t>the</a:t>
            </a:r>
            <a:r>
              <a:rPr lang="de-DE" sz="1600" dirty="0"/>
              <a:t> </a:t>
            </a:r>
            <a:r>
              <a:rPr lang="de-DE" sz="1600" dirty="0" err="1"/>
              <a:t>figures</a:t>
            </a:r>
            <a:r>
              <a:rPr lang="de-DE" sz="1600" dirty="0"/>
              <a:t> </a:t>
            </a:r>
            <a:r>
              <a:rPr lang="de-DE" sz="1600" dirty="0" err="1"/>
              <a:t>without</a:t>
            </a:r>
            <a:r>
              <a:rPr lang="de-DE" sz="1600" dirty="0"/>
              <a:t> extra </a:t>
            </a:r>
            <a:r>
              <a:rPr lang="de-DE" sz="1600" dirty="0" err="1"/>
              <a:t>work</a:t>
            </a:r>
            <a:r>
              <a:rPr lang="de-DE" sz="1600" dirty="0"/>
              <a:t> </a:t>
            </a:r>
            <a:r>
              <a:rPr lang="de-DE" sz="1600" dirty="0" err="1"/>
              <a:t>of</a:t>
            </a:r>
            <a:r>
              <a:rPr lang="de-DE" sz="1600" dirty="0"/>
              <a:t> </a:t>
            </a:r>
            <a:r>
              <a:rPr lang="de-DE" sz="1600" dirty="0" err="1"/>
              <a:t>adding</a:t>
            </a:r>
            <a:r>
              <a:rPr lang="de-DE" sz="1600" dirty="0"/>
              <a:t> countries.</a:t>
            </a:r>
          </a:p>
          <a:p>
            <a:pPr lvl="1"/>
            <a:r>
              <a:rPr lang="de-DE" sz="1600" dirty="0" err="1"/>
              <a:t>When</a:t>
            </a:r>
            <a:r>
              <a:rPr lang="de-DE" sz="1600" dirty="0"/>
              <a:t> </a:t>
            </a:r>
            <a:r>
              <a:rPr lang="de-DE" sz="1600" dirty="0" err="1"/>
              <a:t>you</a:t>
            </a:r>
            <a:r>
              <a:rPr lang="de-DE" sz="1600" dirty="0"/>
              <a:t> </a:t>
            </a:r>
            <a:r>
              <a:rPr lang="de-DE" sz="1600" dirty="0" err="1"/>
              <a:t>have</a:t>
            </a:r>
            <a:r>
              <a:rPr lang="de-DE" sz="1600" dirty="0"/>
              <a:t> </a:t>
            </a:r>
            <a:r>
              <a:rPr lang="de-DE" sz="1600" dirty="0" err="1"/>
              <a:t>found</a:t>
            </a:r>
            <a:r>
              <a:rPr lang="de-DE" sz="1600" dirty="0"/>
              <a:t> a </a:t>
            </a:r>
            <a:r>
              <a:rPr lang="de-DE" sz="1600" dirty="0" err="1"/>
              <a:t>vehicle</a:t>
            </a:r>
            <a:r>
              <a:rPr lang="de-DE" sz="1600" dirty="0"/>
              <a:t> via websitecheck </a:t>
            </a:r>
            <a:r>
              <a:rPr lang="de-DE" sz="1600" dirty="0" err="1"/>
              <a:t>you</a:t>
            </a:r>
            <a:r>
              <a:rPr lang="de-DE" sz="1600" dirty="0"/>
              <a:t> </a:t>
            </a:r>
            <a:r>
              <a:rPr lang="de-DE" sz="1600" dirty="0" err="1"/>
              <a:t>can</a:t>
            </a:r>
            <a:r>
              <a:rPr lang="de-DE" sz="1600" dirty="0"/>
              <a:t> </a:t>
            </a:r>
            <a:r>
              <a:rPr lang="de-DE" sz="1600" dirty="0" err="1"/>
              <a:t>flag</a:t>
            </a:r>
            <a:r>
              <a:rPr lang="de-DE" sz="1600" dirty="0"/>
              <a:t> </a:t>
            </a:r>
            <a:r>
              <a:rPr lang="de-DE" sz="1600" dirty="0" err="1"/>
              <a:t>it</a:t>
            </a:r>
            <a:r>
              <a:rPr lang="de-DE" sz="1600" dirty="0"/>
              <a:t> in </a:t>
            </a:r>
            <a:r>
              <a:rPr lang="de-DE" sz="1600" dirty="0" err="1"/>
              <a:t>the</a:t>
            </a:r>
            <a:r>
              <a:rPr lang="de-DE" sz="1600" dirty="0"/>
              <a:t> BIEB.</a:t>
            </a:r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EFCA20D3-8A2A-F744-945E-57A4C39435A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20791" y="2303236"/>
            <a:ext cx="5364163" cy="388144"/>
          </a:xfrm>
        </p:spPr>
        <p:txBody>
          <a:bodyPr/>
          <a:lstStyle/>
          <a:p>
            <a:r>
              <a:rPr lang="de-DE" dirty="0"/>
              <a:t>Contra </a:t>
            </a:r>
            <a:r>
              <a:rPr lang="de-DE" dirty="0" err="1"/>
              <a:t>adding</a:t>
            </a:r>
            <a:r>
              <a:rPr lang="de-DE" dirty="0"/>
              <a:t> all EU countrie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229F4F4-0B02-9845-A256-CE9CEA94173A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387854" y="2691378"/>
            <a:ext cx="5364163" cy="3474644"/>
          </a:xfrm>
        </p:spPr>
        <p:txBody>
          <a:bodyPr/>
          <a:lstStyle/>
          <a:p>
            <a:pPr lvl="1"/>
            <a:r>
              <a:rPr lang="de-DE" sz="1600" dirty="0" err="1"/>
              <a:t>When</a:t>
            </a:r>
            <a:r>
              <a:rPr lang="de-DE" sz="1600" dirty="0"/>
              <a:t> </a:t>
            </a:r>
            <a:r>
              <a:rPr lang="de-DE" sz="1600" dirty="0" err="1"/>
              <a:t>there</a:t>
            </a:r>
            <a:r>
              <a:rPr lang="de-DE" sz="1600" dirty="0"/>
              <a:t> </a:t>
            </a:r>
            <a:r>
              <a:rPr lang="de-DE" sz="1600" dirty="0" err="1"/>
              <a:t>are</a:t>
            </a:r>
            <a:r>
              <a:rPr lang="de-DE" sz="1600" dirty="0"/>
              <a:t> </a:t>
            </a:r>
            <a:r>
              <a:rPr lang="de-DE" sz="1600" dirty="0" err="1"/>
              <a:t>vehicles</a:t>
            </a:r>
            <a:r>
              <a:rPr lang="de-DE" sz="1600" dirty="0"/>
              <a:t> </a:t>
            </a:r>
            <a:r>
              <a:rPr lang="de-DE" sz="1600" dirty="0" err="1"/>
              <a:t>for</a:t>
            </a:r>
            <a:r>
              <a:rPr lang="de-DE" sz="1600" dirty="0"/>
              <a:t> LHD </a:t>
            </a:r>
            <a:r>
              <a:rPr lang="de-DE" sz="1600" dirty="0" err="1"/>
              <a:t>only</a:t>
            </a:r>
            <a:r>
              <a:rPr lang="de-DE" sz="1600" dirty="0"/>
              <a:t>, </a:t>
            </a:r>
            <a:r>
              <a:rPr lang="de-DE" sz="1600" dirty="0" err="1"/>
              <a:t>they</a:t>
            </a:r>
            <a:r>
              <a:rPr lang="de-DE" sz="1600" dirty="0"/>
              <a:t> will also </a:t>
            </a:r>
            <a:r>
              <a:rPr lang="de-DE" sz="1600" dirty="0" err="1"/>
              <a:t>get</a:t>
            </a:r>
            <a:r>
              <a:rPr lang="de-DE" sz="1600" dirty="0"/>
              <a:t> RHD countries </a:t>
            </a:r>
            <a:r>
              <a:rPr lang="de-DE" sz="1600" dirty="0" err="1"/>
              <a:t>added</a:t>
            </a:r>
            <a:r>
              <a:rPr lang="de-DE" sz="1600" dirty="0"/>
              <a:t> and vice </a:t>
            </a:r>
            <a:r>
              <a:rPr lang="de-DE" sz="1600" dirty="0" err="1"/>
              <a:t>versa</a:t>
            </a:r>
            <a:r>
              <a:rPr lang="de-DE" sz="1600" dirty="0"/>
              <a:t>.</a:t>
            </a:r>
          </a:p>
          <a:p>
            <a:pPr lvl="1"/>
            <a:r>
              <a:rPr lang="de-DE" sz="1600" dirty="0" err="1"/>
              <a:t>When</a:t>
            </a:r>
            <a:r>
              <a:rPr lang="de-DE" sz="1600" dirty="0"/>
              <a:t> </a:t>
            </a:r>
            <a:r>
              <a:rPr lang="de-DE" sz="1600" dirty="0" err="1"/>
              <a:t>there</a:t>
            </a:r>
            <a:r>
              <a:rPr lang="de-DE" sz="1600" dirty="0"/>
              <a:t> </a:t>
            </a:r>
            <a:r>
              <a:rPr lang="de-DE" sz="1600" dirty="0" err="1"/>
              <a:t>is</a:t>
            </a:r>
            <a:r>
              <a:rPr lang="de-DE" sz="1600" dirty="0"/>
              <a:t> a </a:t>
            </a:r>
            <a:r>
              <a:rPr lang="de-DE" sz="1600" dirty="0" err="1"/>
              <a:t>vehicle</a:t>
            </a:r>
            <a:r>
              <a:rPr lang="de-DE" sz="1600" dirty="0"/>
              <a:t> </a:t>
            </a:r>
            <a:r>
              <a:rPr lang="de-DE" sz="1600" dirty="0" err="1"/>
              <a:t>for</a:t>
            </a:r>
            <a:r>
              <a:rPr lang="de-DE" sz="1600" dirty="0"/>
              <a:t> a </a:t>
            </a:r>
            <a:r>
              <a:rPr lang="de-DE" sz="1600" dirty="0" err="1"/>
              <a:t>specific</a:t>
            </a:r>
            <a:r>
              <a:rPr lang="de-DE" sz="1600" dirty="0"/>
              <a:t> </a:t>
            </a:r>
            <a:r>
              <a:rPr lang="de-DE" sz="1600" dirty="0" err="1"/>
              <a:t>country</a:t>
            </a:r>
            <a:r>
              <a:rPr lang="de-DE" sz="1600" dirty="0"/>
              <a:t>/</a:t>
            </a:r>
            <a:r>
              <a:rPr lang="de-DE" sz="1600" dirty="0" err="1"/>
              <a:t>region</a:t>
            </a:r>
            <a:r>
              <a:rPr lang="de-DE" sz="1600" dirty="0"/>
              <a:t> (e.g. </a:t>
            </a:r>
            <a:r>
              <a:rPr lang="de-DE" sz="1600" dirty="0" err="1"/>
              <a:t>less</a:t>
            </a:r>
            <a:r>
              <a:rPr lang="de-DE" sz="1600" dirty="0"/>
              <a:t> power BMW </a:t>
            </a:r>
            <a:r>
              <a:rPr lang="de-DE" sz="1600" dirty="0" err="1"/>
              <a:t>Belgium</a:t>
            </a:r>
            <a:r>
              <a:rPr lang="de-DE" sz="1600" dirty="0"/>
              <a:t>) </a:t>
            </a:r>
            <a:r>
              <a:rPr lang="de-DE" sz="1600" dirty="0" err="1"/>
              <a:t>it</a:t>
            </a:r>
            <a:r>
              <a:rPr lang="de-DE" sz="1600" dirty="0"/>
              <a:t> will also </a:t>
            </a:r>
            <a:r>
              <a:rPr lang="de-DE" sz="1600" dirty="0" err="1"/>
              <a:t>be</a:t>
            </a:r>
            <a:r>
              <a:rPr lang="de-DE" sz="1600" dirty="0"/>
              <a:t> valid </a:t>
            </a:r>
            <a:r>
              <a:rPr lang="de-DE" sz="1600" dirty="0" err="1"/>
              <a:t>for</a:t>
            </a:r>
            <a:r>
              <a:rPr lang="de-DE" sz="1600" dirty="0"/>
              <a:t> „</a:t>
            </a:r>
            <a:r>
              <a:rPr lang="de-DE" sz="1600" dirty="0" err="1"/>
              <a:t>rest</a:t>
            </a:r>
            <a:r>
              <a:rPr lang="de-DE" sz="1600" dirty="0"/>
              <a:t> </a:t>
            </a:r>
            <a:r>
              <a:rPr lang="de-DE" sz="1600" dirty="0" err="1"/>
              <a:t>of</a:t>
            </a:r>
            <a:r>
              <a:rPr lang="de-DE" sz="1600" dirty="0"/>
              <a:t> Europe“.</a:t>
            </a:r>
          </a:p>
          <a:p>
            <a:pPr lvl="1"/>
            <a:r>
              <a:rPr lang="de-DE" sz="1600" dirty="0" err="1"/>
              <a:t>When</a:t>
            </a:r>
            <a:r>
              <a:rPr lang="de-DE" sz="1600" dirty="0"/>
              <a:t> </a:t>
            </a:r>
            <a:r>
              <a:rPr lang="de-DE" sz="1600" dirty="0" err="1"/>
              <a:t>there</a:t>
            </a:r>
            <a:r>
              <a:rPr lang="de-DE" sz="1600" dirty="0"/>
              <a:t> </a:t>
            </a:r>
            <a:r>
              <a:rPr lang="de-DE" sz="1600" dirty="0" err="1"/>
              <a:t>is</a:t>
            </a:r>
            <a:r>
              <a:rPr lang="de-DE" sz="1600" dirty="0"/>
              <a:t> a VIO </a:t>
            </a:r>
            <a:r>
              <a:rPr lang="de-DE" sz="1600" dirty="0" err="1"/>
              <a:t>file</a:t>
            </a:r>
            <a:r>
              <a:rPr lang="de-DE" sz="1600" dirty="0"/>
              <a:t> </a:t>
            </a:r>
            <a:r>
              <a:rPr lang="de-DE" sz="1600" dirty="0" err="1"/>
              <a:t>with</a:t>
            </a:r>
            <a:r>
              <a:rPr lang="de-DE" sz="1600" dirty="0"/>
              <a:t> </a:t>
            </a:r>
            <a:r>
              <a:rPr lang="de-DE" sz="1600" dirty="0" err="1"/>
              <a:t>little</a:t>
            </a:r>
            <a:r>
              <a:rPr lang="de-DE" sz="1600" dirty="0"/>
              <a:t> </a:t>
            </a:r>
            <a:r>
              <a:rPr lang="de-DE" sz="1600" dirty="0" err="1"/>
              <a:t>information</a:t>
            </a:r>
            <a:r>
              <a:rPr lang="de-DE" sz="1600" dirty="0"/>
              <a:t> (e.g. </a:t>
            </a:r>
            <a:r>
              <a:rPr lang="de-DE" sz="1600" dirty="0" err="1"/>
              <a:t>only</a:t>
            </a:r>
            <a:r>
              <a:rPr lang="de-DE" sz="1600" dirty="0"/>
              <a:t> </a:t>
            </a:r>
            <a:r>
              <a:rPr lang="de-DE" sz="1600" dirty="0" err="1"/>
              <a:t>make</a:t>
            </a:r>
            <a:r>
              <a:rPr lang="de-DE" sz="1600" dirty="0"/>
              <a:t> and </a:t>
            </a:r>
            <a:r>
              <a:rPr lang="de-DE" sz="1600" dirty="0" err="1"/>
              <a:t>model</a:t>
            </a:r>
            <a:r>
              <a:rPr lang="de-DE" sz="1600" dirty="0"/>
              <a:t>) </a:t>
            </a:r>
            <a:r>
              <a:rPr lang="de-DE" sz="1600" dirty="0" err="1"/>
              <a:t>vehicles</a:t>
            </a:r>
            <a:r>
              <a:rPr lang="de-DE" sz="1600" dirty="0"/>
              <a:t> will </a:t>
            </a:r>
            <a:r>
              <a:rPr lang="de-DE" sz="1600" dirty="0" err="1"/>
              <a:t>reveive</a:t>
            </a:r>
            <a:r>
              <a:rPr lang="de-DE" sz="1600" dirty="0"/>
              <a:t> </a:t>
            </a:r>
            <a:r>
              <a:rPr lang="de-DE" sz="1600" dirty="0" err="1"/>
              <a:t>figures</a:t>
            </a:r>
            <a:r>
              <a:rPr lang="de-DE" sz="1600" dirty="0"/>
              <a:t> </a:t>
            </a:r>
            <a:r>
              <a:rPr lang="de-DE" sz="1600" dirty="0" err="1"/>
              <a:t>while</a:t>
            </a:r>
            <a:r>
              <a:rPr lang="de-DE" sz="1600" dirty="0"/>
              <a:t> </a:t>
            </a:r>
            <a:r>
              <a:rPr lang="de-DE" sz="1600" dirty="0" err="1"/>
              <a:t>they</a:t>
            </a:r>
            <a:r>
              <a:rPr lang="de-DE" sz="1600" dirty="0"/>
              <a:t> </a:t>
            </a:r>
            <a:r>
              <a:rPr lang="de-DE" sz="1600" dirty="0" err="1"/>
              <a:t>are</a:t>
            </a:r>
            <a:r>
              <a:rPr lang="de-DE" sz="1600" dirty="0"/>
              <a:t> not in </a:t>
            </a:r>
            <a:r>
              <a:rPr lang="de-DE" sz="1600" dirty="0" err="1"/>
              <a:t>the</a:t>
            </a:r>
            <a:r>
              <a:rPr lang="de-DE" sz="1600" dirty="0"/>
              <a:t> </a:t>
            </a:r>
            <a:r>
              <a:rPr lang="de-DE" sz="1600" dirty="0" err="1"/>
              <a:t>country</a:t>
            </a:r>
            <a:r>
              <a:rPr lang="de-DE" sz="1600" dirty="0"/>
              <a:t>.</a:t>
            </a:r>
          </a:p>
          <a:p>
            <a:pPr lvl="1"/>
            <a:r>
              <a:rPr lang="de-DE" sz="1600" dirty="0"/>
              <a:t>Countries will </a:t>
            </a:r>
            <a:r>
              <a:rPr lang="de-DE" sz="1600" dirty="0" err="1"/>
              <a:t>be</a:t>
            </a:r>
            <a:r>
              <a:rPr lang="de-DE" sz="1600" dirty="0"/>
              <a:t> </a:t>
            </a:r>
            <a:r>
              <a:rPr lang="de-DE" sz="1600" dirty="0" err="1"/>
              <a:t>added</a:t>
            </a:r>
            <a:r>
              <a:rPr lang="de-DE" sz="1600" dirty="0"/>
              <a:t> </a:t>
            </a:r>
            <a:r>
              <a:rPr lang="de-DE" sz="1600" dirty="0" err="1"/>
              <a:t>to</a:t>
            </a:r>
            <a:r>
              <a:rPr lang="de-DE" sz="1600" dirty="0"/>
              <a:t> </a:t>
            </a:r>
            <a:r>
              <a:rPr lang="de-DE" sz="1600" dirty="0" err="1"/>
              <a:t>the</a:t>
            </a:r>
            <a:r>
              <a:rPr lang="de-DE" sz="1600" dirty="0"/>
              <a:t> </a:t>
            </a:r>
            <a:r>
              <a:rPr lang="de-DE" sz="1600" dirty="0" err="1"/>
              <a:t>incorrect</a:t>
            </a:r>
            <a:r>
              <a:rPr lang="de-DE" sz="1600" dirty="0"/>
              <a:t> </a:t>
            </a:r>
            <a:r>
              <a:rPr lang="de-DE" sz="1600" dirty="0" err="1"/>
              <a:t>model</a:t>
            </a:r>
            <a:r>
              <a:rPr lang="de-DE" sz="1600" dirty="0"/>
              <a:t> </a:t>
            </a:r>
            <a:r>
              <a:rPr lang="de-DE" sz="1600" dirty="0" err="1"/>
              <a:t>name</a:t>
            </a:r>
            <a:r>
              <a:rPr lang="de-DE" sz="1600" dirty="0"/>
              <a:t>.</a:t>
            </a:r>
          </a:p>
          <a:p>
            <a:pPr lvl="1"/>
            <a:r>
              <a:rPr lang="de-DE" sz="1600" dirty="0" err="1"/>
              <a:t>Difference</a:t>
            </a:r>
            <a:r>
              <a:rPr lang="de-DE" sz="1600" dirty="0"/>
              <a:t> </a:t>
            </a:r>
            <a:r>
              <a:rPr lang="de-DE" sz="1600" dirty="0" err="1"/>
              <a:t>between</a:t>
            </a:r>
            <a:r>
              <a:rPr lang="de-DE" sz="1600" dirty="0"/>
              <a:t> countries </a:t>
            </a:r>
            <a:r>
              <a:rPr lang="de-DE" sz="1600" dirty="0" err="1"/>
              <a:t>of</a:t>
            </a:r>
            <a:r>
              <a:rPr lang="de-DE" sz="1600" dirty="0"/>
              <a:t> BIEB and RDM due </a:t>
            </a:r>
            <a:r>
              <a:rPr lang="de-DE" sz="1600" dirty="0" err="1"/>
              <a:t>to</a:t>
            </a:r>
            <a:r>
              <a:rPr lang="de-DE" sz="1600" dirty="0"/>
              <a:t> different </a:t>
            </a:r>
            <a:r>
              <a:rPr lang="de-DE" sz="1600" dirty="0" err="1"/>
              <a:t>working</a:t>
            </a:r>
            <a:r>
              <a:rPr lang="de-DE" sz="1600" dirty="0"/>
              <a:t> </a:t>
            </a:r>
            <a:r>
              <a:rPr lang="de-DE" sz="1600" dirty="0" err="1"/>
              <a:t>method</a:t>
            </a:r>
            <a:r>
              <a:rPr lang="de-DE" sz="1600" dirty="0"/>
              <a:t> </a:t>
            </a:r>
            <a:r>
              <a:rPr lang="de-DE" sz="1600" dirty="0" err="1"/>
              <a:t>of</a:t>
            </a:r>
            <a:r>
              <a:rPr lang="de-DE" sz="1600" dirty="0"/>
              <a:t> </a:t>
            </a:r>
            <a:r>
              <a:rPr lang="de-DE" sz="1600" dirty="0" err="1"/>
              <a:t>systems</a:t>
            </a:r>
            <a:r>
              <a:rPr lang="de-DE" sz="1600" dirty="0"/>
              <a:t>.</a:t>
            </a:r>
          </a:p>
          <a:p>
            <a:pPr lvl="1"/>
            <a:r>
              <a:rPr lang="de-DE" sz="1600" dirty="0"/>
              <a:t>Time </a:t>
            </a:r>
            <a:r>
              <a:rPr lang="de-DE" sz="1600" dirty="0" err="1"/>
              <a:t>consuming</a:t>
            </a:r>
            <a:r>
              <a:rPr lang="de-DE" sz="1600" dirty="0"/>
              <a:t>.</a:t>
            </a:r>
          </a:p>
          <a:p>
            <a:pPr lvl="1"/>
            <a:r>
              <a:rPr lang="de-DE" sz="1600" dirty="0" err="1"/>
              <a:t>How</a:t>
            </a:r>
            <a:r>
              <a:rPr lang="de-DE" sz="1600" dirty="0"/>
              <a:t> do </a:t>
            </a:r>
            <a:r>
              <a:rPr lang="de-DE" sz="1600" dirty="0" err="1"/>
              <a:t>you</a:t>
            </a:r>
            <a:r>
              <a:rPr lang="de-DE" sz="1600" dirty="0"/>
              <a:t> </a:t>
            </a:r>
            <a:r>
              <a:rPr lang="de-DE" sz="1600" dirty="0" err="1"/>
              <a:t>see</a:t>
            </a:r>
            <a:r>
              <a:rPr lang="de-DE" sz="1600" dirty="0"/>
              <a:t> </a:t>
            </a:r>
            <a:r>
              <a:rPr lang="de-DE" sz="1600" dirty="0" err="1"/>
              <a:t>the</a:t>
            </a:r>
            <a:r>
              <a:rPr lang="de-DE" sz="1600" dirty="0"/>
              <a:t> </a:t>
            </a:r>
            <a:r>
              <a:rPr lang="de-DE" sz="1600" dirty="0" err="1"/>
              <a:t>difference</a:t>
            </a:r>
            <a:r>
              <a:rPr lang="de-DE" sz="1600" dirty="0"/>
              <a:t> in RDM </a:t>
            </a:r>
            <a:r>
              <a:rPr lang="de-DE" sz="1600" dirty="0" err="1"/>
              <a:t>between</a:t>
            </a:r>
            <a:r>
              <a:rPr lang="de-DE" sz="1600" dirty="0"/>
              <a:t> </a:t>
            </a:r>
            <a:r>
              <a:rPr lang="de-DE" sz="1600" dirty="0" err="1"/>
              <a:t>confirmed</a:t>
            </a:r>
            <a:r>
              <a:rPr lang="de-DE" sz="1600" dirty="0"/>
              <a:t> countries and </a:t>
            </a:r>
            <a:r>
              <a:rPr lang="de-DE" sz="1600" dirty="0" err="1"/>
              <a:t>other</a:t>
            </a:r>
            <a:r>
              <a:rPr lang="de-DE" sz="1600" dirty="0"/>
              <a:t> countries?</a:t>
            </a:r>
          </a:p>
          <a:p>
            <a:pPr lvl="1"/>
            <a:endParaRPr lang="de-DE" sz="1600" dirty="0"/>
          </a:p>
          <a:p>
            <a:pPr marL="0" lvl="1" indent="0">
              <a:buNone/>
            </a:pPr>
            <a:endParaRPr lang="de-DE" dirty="0"/>
          </a:p>
        </p:txBody>
      </p:sp>
      <p:sp>
        <p:nvSpPr>
          <p:cNvPr id="61" name="Datumsplatzhalter 60">
            <a:extLst>
              <a:ext uri="{FF2B5EF4-FFF2-40B4-BE49-F238E27FC236}">
                <a16:creationId xmlns:a16="http://schemas.microsoft.com/office/drawing/2014/main" id="{34374D78-12BB-B444-A427-0AAF5580127F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11569E26-B259-441A-AB67-0E4FB6617FAE}" type="datetime1">
              <a:rPr lang="de-DE" smtClean="0"/>
              <a:t>05.08.2020</a:t>
            </a:fld>
            <a:endParaRPr lang="de-DE" dirty="0"/>
          </a:p>
        </p:txBody>
      </p:sp>
      <p:sp>
        <p:nvSpPr>
          <p:cNvPr id="62" name="Fußzeilenplatzhalter 61">
            <a:extLst>
              <a:ext uri="{FF2B5EF4-FFF2-40B4-BE49-F238E27FC236}">
                <a16:creationId xmlns:a16="http://schemas.microsoft.com/office/drawing/2014/main" id="{1FBB51AE-0257-0B45-A7EA-2454242A964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© TecAlliance GmbH</a:t>
            </a:r>
            <a:endParaRPr lang="de-DE" dirty="0"/>
          </a:p>
        </p:txBody>
      </p:sp>
      <p:sp>
        <p:nvSpPr>
          <p:cNvPr id="63" name="Foliennummernplatzhalter 62">
            <a:extLst>
              <a:ext uri="{FF2B5EF4-FFF2-40B4-BE49-F238E27FC236}">
                <a16:creationId xmlns:a16="http://schemas.microsoft.com/office/drawing/2014/main" id="{9FFC1842-562F-F14A-B90F-3FDBEF9BC95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CE82B8A1-0CCE-4815-9668-383D7DE7D8B4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BD57593-CCF6-4357-B1FC-7417C7FB3551}"/>
              </a:ext>
            </a:extLst>
          </p:cNvPr>
          <p:cNvSpPr txBox="1"/>
          <p:nvPr/>
        </p:nvSpPr>
        <p:spPr>
          <a:xfrm>
            <a:off x="441325" y="1196752"/>
            <a:ext cx="1084004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itsubishi, Pajero, 1591cc, 120kw, FWD, 4cyl, 16valves, HB, LR, …</a:t>
            </a:r>
          </a:p>
          <a:p>
            <a:r>
              <a:rPr lang="en-US" dirty="0"/>
              <a:t>Mitsubishi, Montero, 1591cc, 120kw, FWD, 4cyl, 16valves, HB, L, …</a:t>
            </a:r>
          </a:p>
          <a:p>
            <a:r>
              <a:rPr lang="en-US" dirty="0"/>
              <a:t>Mitsubishi, Shogun, 1591cc, 120kw, FWD, 4cyl, 16valves, HB, R, …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417599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ildplatzhalter 11">
            <a:extLst>
              <a:ext uri="{FF2B5EF4-FFF2-40B4-BE49-F238E27FC236}">
                <a16:creationId xmlns:a16="http://schemas.microsoft.com/office/drawing/2014/main" id="{AF3D45D5-2F1E-FA42-9ACE-4D808398D59B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4815" y="-11641"/>
            <a:ext cx="12224815" cy="6124115"/>
          </a:xfr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857B3F74-5B5A-5848-ABCA-49D31AA679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ank you for your attention!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894954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SHOW_CA" val="False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01/17/2018 13:02:06"/>
  <p:tag name="VCTMASTER" val="Larissa"/>
  <p:tag name="VCTORDER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01/17/2018 13:02:06"/>
  <p:tag name="VCTMASTER" val="Larissa"/>
  <p:tag name="VCTORDER" val="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01/17/2018 13:02:06"/>
  <p:tag name="VCTMASTER" val="Larissa"/>
  <p:tag name="VCTORDER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01/17/2018 13:02:06"/>
  <p:tag name="VCTMASTER" val="Larissa"/>
  <p:tag name="VCTORDER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hne-Hintergrund">
  <a:themeElements>
    <a:clrScheme name="TecAlliance 2">
      <a:dk1>
        <a:srgbClr val="003366"/>
      </a:dk1>
      <a:lt1>
        <a:srgbClr val="FFFFFF"/>
      </a:lt1>
      <a:dk2>
        <a:srgbClr val="3F9ED1"/>
      </a:dk2>
      <a:lt2>
        <a:srgbClr val="C2D0D8"/>
      </a:lt2>
      <a:accent1>
        <a:srgbClr val="64C2C8"/>
      </a:accent1>
      <a:accent2>
        <a:srgbClr val="009BA4"/>
      </a:accent2>
      <a:accent3>
        <a:srgbClr val="C2D0D8"/>
      </a:accent3>
      <a:accent4>
        <a:srgbClr val="367181"/>
      </a:accent4>
      <a:accent5>
        <a:srgbClr val="00855A"/>
      </a:accent5>
      <a:accent6>
        <a:srgbClr val="EC6608"/>
      </a:accent6>
      <a:hlink>
        <a:srgbClr val="8F1660"/>
      </a:hlink>
      <a:folHlink>
        <a:srgbClr val="4C1E65"/>
      </a:folHlink>
    </a:clrScheme>
    <a:fontScheme name="Benutzerdefiniert 11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 w="6350">
          <a:noFill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defRPr sz="14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äsentation1" id="{D7AF4629-3B06-47DD-9DD1-1061AF70C55F}" vid="{56AFD905-5DF4-4CF5-901D-F92DD81C9AE1}"/>
    </a:ext>
  </a:extLst>
</a:theme>
</file>

<file path=ppt/theme/theme2.xml><?xml version="1.0" encoding="utf-8"?>
<a:theme xmlns:a="http://schemas.openxmlformats.org/drawingml/2006/main" name="2_mit-Hintergrund">
  <a:themeElements>
    <a:clrScheme name="Benutzerdefiniert 1">
      <a:dk1>
        <a:srgbClr val="003366"/>
      </a:dk1>
      <a:lt1>
        <a:srgbClr val="FFFFFF"/>
      </a:lt1>
      <a:dk2>
        <a:srgbClr val="3F9ED1"/>
      </a:dk2>
      <a:lt2>
        <a:srgbClr val="C2D0D8"/>
      </a:lt2>
      <a:accent1>
        <a:srgbClr val="367181"/>
      </a:accent1>
      <a:accent2>
        <a:srgbClr val="009BA4"/>
      </a:accent2>
      <a:accent3>
        <a:srgbClr val="64C2C8"/>
      </a:accent3>
      <a:accent4>
        <a:srgbClr val="00A97A"/>
      </a:accent4>
      <a:accent5>
        <a:srgbClr val="00855A"/>
      </a:accent5>
      <a:accent6>
        <a:srgbClr val="EC6608"/>
      </a:accent6>
      <a:hlink>
        <a:srgbClr val="8F1660"/>
      </a:hlink>
      <a:folHlink>
        <a:srgbClr val="4C1E65"/>
      </a:folHlink>
    </a:clrScheme>
    <a:fontScheme name="Benutzerdefiniert 11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 w="6350">
          <a:noFill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defRPr sz="14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lIns="0" tIns="0" rIns="0" bIns="0" rtlCol="0">
        <a:noAutofit/>
      </a:bodyPr>
      <a:lstStyle>
        <a:defPPr algn="l">
          <a:defRPr sz="1800" i="1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1" id="{D7AF4629-3B06-47DD-9DD1-1061AF70C55F}" vid="{495E36E9-87D0-43E2-8A25-C1F280E3D5EE}"/>
    </a:ext>
  </a:extLst>
</a:theme>
</file>

<file path=ppt/theme/theme3.xml><?xml version="1.0" encoding="utf-8"?>
<a:theme xmlns:a="http://schemas.openxmlformats.org/drawingml/2006/main" name="3_mit-Grafik">
  <a:themeElements>
    <a:clrScheme name="Benutzerdefiniert 3">
      <a:dk1>
        <a:srgbClr val="003366"/>
      </a:dk1>
      <a:lt1>
        <a:sysClr val="window" lastClr="FFFFFF"/>
      </a:lt1>
      <a:dk2>
        <a:srgbClr val="58585A"/>
      </a:dk2>
      <a:lt2>
        <a:srgbClr val="3F9ED1"/>
      </a:lt2>
      <a:accent1>
        <a:srgbClr val="87C8AD"/>
      </a:accent1>
      <a:accent2>
        <a:srgbClr val="5C89B6"/>
      </a:accent2>
      <a:accent3>
        <a:srgbClr val="2A445E"/>
      </a:accent3>
      <a:accent4>
        <a:srgbClr val="E75113"/>
      </a:accent4>
      <a:accent5>
        <a:srgbClr val="6E1868"/>
      </a:accent5>
      <a:accent6>
        <a:srgbClr val="F7B89E"/>
      </a:accent6>
      <a:hlink>
        <a:srgbClr val="767476"/>
      </a:hlink>
      <a:folHlink>
        <a:srgbClr val="58585A"/>
      </a:folHlink>
    </a:clrScheme>
    <a:fontScheme name="Benutzerdefiniert 11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 w="6350">
          <a:noFill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defRPr sz="14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äsentation1" id="{D7AF4629-3B06-47DD-9DD1-1061AF70C55F}" vid="{A252ABB8-19B9-4AA6-AC91-D20EA92995E0}"/>
    </a:ext>
  </a:extLst>
</a:theme>
</file>

<file path=ppt/theme/theme4.xml><?xml version="1.0" encoding="utf-8"?>
<a:theme xmlns:a="http://schemas.openxmlformats.org/drawingml/2006/main" name="4_Vorgaben-und-Bibliothek">
  <a:themeElements>
    <a:clrScheme name="TecAlliance Colours">
      <a:dk1>
        <a:srgbClr val="003366"/>
      </a:dk1>
      <a:lt1>
        <a:srgbClr val="FFFFFF"/>
      </a:lt1>
      <a:dk2>
        <a:srgbClr val="3F9ED1"/>
      </a:dk2>
      <a:lt2>
        <a:srgbClr val="C2D0D8"/>
      </a:lt2>
      <a:accent1>
        <a:srgbClr val="367181"/>
      </a:accent1>
      <a:accent2>
        <a:srgbClr val="009BA4"/>
      </a:accent2>
      <a:accent3>
        <a:srgbClr val="64C2C8"/>
      </a:accent3>
      <a:accent4>
        <a:srgbClr val="00A97A"/>
      </a:accent4>
      <a:accent5>
        <a:srgbClr val="00855A"/>
      </a:accent5>
      <a:accent6>
        <a:srgbClr val="EC6608"/>
      </a:accent6>
      <a:hlink>
        <a:srgbClr val="8F1660"/>
      </a:hlink>
      <a:folHlink>
        <a:srgbClr val="4C1E65"/>
      </a:folHlink>
    </a:clrScheme>
    <a:fontScheme name="Benutzerdefiniert 11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 w="6350">
          <a:noFill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defRPr sz="14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äsentation1" id="{D7AF4629-3B06-47DD-9DD1-1061AF70C55F}" vid="{B84E3541-120C-496F-A943-630F7BCFFE21}"/>
    </a:ext>
  </a:extLst>
</a:theme>
</file>

<file path=ppt/theme/theme5.xml><?xml version="1.0" encoding="utf-8"?>
<a:theme xmlns:a="http://schemas.openxmlformats.org/drawingml/2006/main" name="Office">
  <a:themeElements>
    <a:clrScheme name="TecAlliance">
      <a:dk1>
        <a:sysClr val="windowText" lastClr="000000"/>
      </a:dk1>
      <a:lt1>
        <a:sysClr val="window" lastClr="FFFFFF"/>
      </a:lt1>
      <a:dk2>
        <a:srgbClr val="767476"/>
      </a:dk2>
      <a:lt2>
        <a:srgbClr val="58585A"/>
      </a:lt2>
      <a:accent1>
        <a:srgbClr val="003366"/>
      </a:accent1>
      <a:accent2>
        <a:srgbClr val="87C8AD"/>
      </a:accent2>
      <a:accent3>
        <a:srgbClr val="3F9ED1"/>
      </a:accent3>
      <a:accent4>
        <a:srgbClr val="6E1868"/>
      </a:accent4>
      <a:accent5>
        <a:srgbClr val="E75113"/>
      </a:accent5>
      <a:accent6>
        <a:srgbClr val="5C89B6"/>
      </a:accent6>
      <a:hlink>
        <a:srgbClr val="767476"/>
      </a:hlink>
      <a:folHlink>
        <a:srgbClr val="58585A"/>
      </a:folHlink>
    </a:clrScheme>
    <a:fontScheme name="TecAlliance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">
  <a:themeElements>
    <a:clrScheme name="TecAlliance">
      <a:dk1>
        <a:sysClr val="windowText" lastClr="000000"/>
      </a:dk1>
      <a:lt1>
        <a:sysClr val="window" lastClr="FFFFFF"/>
      </a:lt1>
      <a:dk2>
        <a:srgbClr val="767476"/>
      </a:dk2>
      <a:lt2>
        <a:srgbClr val="58585A"/>
      </a:lt2>
      <a:accent1>
        <a:srgbClr val="003366"/>
      </a:accent1>
      <a:accent2>
        <a:srgbClr val="87C8AD"/>
      </a:accent2>
      <a:accent3>
        <a:srgbClr val="3F9ED1"/>
      </a:accent3>
      <a:accent4>
        <a:srgbClr val="6E1868"/>
      </a:accent4>
      <a:accent5>
        <a:srgbClr val="E75113"/>
      </a:accent5>
      <a:accent6>
        <a:srgbClr val="5C89B6"/>
      </a:accent6>
      <a:hlink>
        <a:srgbClr val="767476"/>
      </a:hlink>
      <a:folHlink>
        <a:srgbClr val="58585A"/>
      </a:folHlink>
    </a:clrScheme>
    <a:fontScheme name="TecAlliance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76F1B9750608142A5EF0F11B784A5E6" ma:contentTypeVersion="20" ma:contentTypeDescription="Ein neues Dokument erstellen." ma:contentTypeScope="" ma:versionID="d38444bf988eabed44f57011d810ac23">
  <xsd:schema xmlns:xsd="http://www.w3.org/2001/XMLSchema" xmlns:xs="http://www.w3.org/2001/XMLSchema" xmlns:p="http://schemas.microsoft.com/office/2006/metadata/properties" xmlns:ns2="395926fc-aba2-4e43-93d3-293d49ac187c" xmlns:ns3="8abda921-aac1-49ce-9133-db7eff363c36" targetNamespace="http://schemas.microsoft.com/office/2006/metadata/properties" ma:root="true" ma:fieldsID="62349174e14e14206e32790092665191" ns2:_="" ns3:_="">
    <xsd:import namespace="395926fc-aba2-4e43-93d3-293d49ac187c"/>
    <xsd:import namespace="8abda921-aac1-49ce-9133-db7eff363c36"/>
    <xsd:element name="properties">
      <xsd:complexType>
        <xsd:sequence>
          <xsd:element name="documentManagement">
            <xsd:complexType>
              <xsd:all>
                <xsd:element ref="ns2:Abstract" minOccurs="0"/>
                <xsd:element ref="ns2:j9aed0e4bd124c02a4df064e6099bd98" minOccurs="0"/>
                <xsd:element ref="ns3:TaxCatchAll" minOccurs="0"/>
                <xsd:element ref="ns2:pc5ae60410d842a6af8258ea45b28ab8" minOccurs="0"/>
                <xsd:element ref="ns2:b66c285d04664fb390dc508fc8dd8372" minOccurs="0"/>
                <xsd:element ref="ns2:d210a247c9d44d5495f534c2d875388e" minOccurs="0"/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DateTaken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95926fc-aba2-4e43-93d3-293d49ac187c" elementFormDefault="qualified">
    <xsd:import namespace="http://schemas.microsoft.com/office/2006/documentManagement/types"/>
    <xsd:import namespace="http://schemas.microsoft.com/office/infopath/2007/PartnerControls"/>
    <xsd:element name="Abstract" ma:index="8" nillable="true" ma:displayName="Abstract" ma:internalName="Abstract">
      <xsd:simpleType>
        <xsd:restriction base="dms:Note">
          <xsd:maxLength value="255"/>
        </xsd:restriction>
      </xsd:simpleType>
    </xsd:element>
    <xsd:element name="j9aed0e4bd124c02a4df064e6099bd98" ma:index="10" nillable="true" ma:taxonomy="true" ma:internalName="j9aed0e4bd124c02a4df064e6099bd98" ma:taxonomyFieldName="Document_x0020_type" ma:displayName="Document type" ma:default="1;#Documentation|4374477c-d144-4e1f-bf15-77ba8dc2d6ee" ma:fieldId="{39aed0e4-bd12-4c02-a4df-064e6099bd98}" ma:sspId="2dc30a33-5dcf-488f-a1b8-78671c145fcf" ma:termSetId="7816a103-44ad-4791-81d5-158aec3d8f7a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pc5ae60410d842a6af8258ea45b28ab8" ma:index="13" nillable="true" ma:taxonomy="true" ma:internalName="pc5ae60410d842a6af8258ea45b28ab8" ma:taxonomyFieldName="Classification" ma:displayName="Classification" ma:default="2;#A - internal|b9f71f92-fb46-4487-9019-025349c14948" ma:fieldId="{9c5ae604-10d8-42a6-af82-58ea45b28ab8}" ma:sspId="2dc30a33-5dcf-488f-a1b8-78671c145fcf" ma:termSetId="20d19936-4a4e-415d-beec-0107297534dd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b66c285d04664fb390dc508fc8dd8372" ma:index="15" nillable="true" ma:taxonomy="true" ma:internalName="b66c285d04664fb390dc508fc8dd8372" ma:taxonomyFieldName="Document_x0020_status" ma:displayName="Document status" ma:default="3;#C - valid|0c95109a-f409-44c4-ba27-12fbc6f76f24" ma:fieldId="{b66c285d-0466-4fb3-90dc-508fc8dd8372}" ma:sspId="2dc30a33-5dcf-488f-a1b8-78671c145fcf" ma:termSetId="610606b5-fc62-4ee9-8706-0ec57820b48b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d210a247c9d44d5495f534c2d875388e" ma:index="17" nillable="true" ma:taxonomy="true" ma:internalName="d210a247c9d44d5495f534c2d875388e" ma:taxonomyFieldName="TA_x0020_Solution" ma:displayName="TA Solution" ma:default="4;#No solution|227ba552-7fd7-40d5-abf3-76f160b7a704" ma:fieldId="{d210a247-c9d4-4d54-95f5-34c2d875388e}" ma:sspId="2dc30a33-5dcf-488f-a1b8-78671c145fcf" ma:termSetId="159a0dcb-e3d3-4a38-bf03-c2ce91883fa5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MediaServiceMetadata" ma:index="1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20" nillable="true" ma:displayName="Tags" ma:internalName="MediaServiceAutoTags" ma:readOnly="true">
      <xsd:simpleType>
        <xsd:restriction base="dms:Text"/>
      </xsd:simpleType>
    </xsd:element>
    <xsd:element name="MediaServiceOCR" ma:index="2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22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23" nillable="true" ma:displayName="Location" ma:internalName="MediaServiceLocation" ma:readOnly="true">
      <xsd:simpleType>
        <xsd:restriction base="dms:Text"/>
      </xsd:simpleType>
    </xsd:element>
    <xsd:element name="MediaServiceGenerationTime" ma:index="2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5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abda921-aac1-49ce-9133-db7eff363c36" elementFormDefault="qualified">
    <xsd:import namespace="http://schemas.microsoft.com/office/2006/documentManagement/types"/>
    <xsd:import namespace="http://schemas.microsoft.com/office/infopath/2007/PartnerControls"/>
    <xsd:element name="TaxCatchAll" ma:index="11" nillable="true" ma:displayName="Taxonomy Catch All Column" ma:hidden="true" ma:list="{032ae2f1-567e-46c0-b828-1a83eb5184c5}" ma:internalName="TaxCatchAll" ma:showField="CatchAllData" ma:web="8abda921-aac1-49ce-9133-db7eff363c3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6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7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c5ae60410d842a6af8258ea45b28ab8 xmlns="395926fc-aba2-4e43-93d3-293d49ac187c">
      <Terms xmlns="http://schemas.microsoft.com/office/infopath/2007/PartnerControls">
        <TermInfo xmlns="http://schemas.microsoft.com/office/infopath/2007/PartnerControls">
          <TermName xmlns="http://schemas.microsoft.com/office/infopath/2007/PartnerControls">A - internal</TermName>
          <TermId xmlns="http://schemas.microsoft.com/office/infopath/2007/PartnerControls">b9f71f92-fb46-4487-9019-025349c14948</TermId>
        </TermInfo>
      </Terms>
    </pc5ae60410d842a6af8258ea45b28ab8>
    <d210a247c9d44d5495f534c2d875388e xmlns="395926fc-aba2-4e43-93d3-293d49ac187c">
      <Terms xmlns="http://schemas.microsoft.com/office/infopath/2007/PartnerControls">
        <TermInfo xmlns="http://schemas.microsoft.com/office/infopath/2007/PartnerControls">
          <TermName xmlns="http://schemas.microsoft.com/office/infopath/2007/PartnerControls">No solution</TermName>
          <TermId xmlns="http://schemas.microsoft.com/office/infopath/2007/PartnerControls">227ba552-7fd7-40d5-abf3-76f160b7a704</TermId>
        </TermInfo>
      </Terms>
    </d210a247c9d44d5495f534c2d875388e>
    <TaxCatchAll xmlns="8abda921-aac1-49ce-9133-db7eff363c36">
      <Value>4</Value>
      <Value>3</Value>
      <Value>2</Value>
      <Value>1</Value>
    </TaxCatchAll>
    <j9aed0e4bd124c02a4df064e6099bd98 xmlns="395926fc-aba2-4e43-93d3-293d49ac187c">
      <Terms xmlns="http://schemas.microsoft.com/office/infopath/2007/PartnerControls">
        <TermInfo xmlns="http://schemas.microsoft.com/office/infopath/2007/PartnerControls">
          <TermName xmlns="http://schemas.microsoft.com/office/infopath/2007/PartnerControls">Documentation</TermName>
          <TermId xmlns="http://schemas.microsoft.com/office/infopath/2007/PartnerControls">4374477c-d144-4e1f-bf15-77ba8dc2d6ee</TermId>
        </TermInfo>
      </Terms>
    </j9aed0e4bd124c02a4df064e6099bd98>
    <b66c285d04664fb390dc508fc8dd8372 xmlns="395926fc-aba2-4e43-93d3-293d49ac187c">
      <Terms xmlns="http://schemas.microsoft.com/office/infopath/2007/PartnerControls">
        <TermInfo xmlns="http://schemas.microsoft.com/office/infopath/2007/PartnerControls">
          <TermName xmlns="http://schemas.microsoft.com/office/infopath/2007/PartnerControls">C - valid</TermName>
          <TermId xmlns="http://schemas.microsoft.com/office/infopath/2007/PartnerControls">0c95109a-f409-44c4-ba27-12fbc6f76f24</TermId>
        </TermInfo>
      </Terms>
    </b66c285d04664fb390dc508fc8dd8372>
    <Abstract xmlns="395926fc-aba2-4e43-93d3-293d49ac187c" xsi:nil="true"/>
  </documentManagement>
</p:properties>
</file>

<file path=customXml/itemProps1.xml><?xml version="1.0" encoding="utf-8"?>
<ds:datastoreItem xmlns:ds="http://schemas.openxmlformats.org/officeDocument/2006/customXml" ds:itemID="{F54B64AE-7D92-476B-BB65-56B09237587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95926fc-aba2-4e43-93d3-293d49ac187c"/>
    <ds:schemaRef ds:uri="8abda921-aac1-49ce-9133-db7eff363c3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18898E00-DAC3-4B35-898D-62A3A2AAA4B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591C6DD-E45D-42F1-8B9B-FB788171507A}">
  <ds:schemaRefs>
    <ds:schemaRef ds:uri="http://purl.org/dc/terms/"/>
    <ds:schemaRef ds:uri="http://www.w3.org/XML/1998/namespace"/>
    <ds:schemaRef ds:uri="http://schemas.microsoft.com/office/infopath/2007/PartnerControls"/>
    <ds:schemaRef ds:uri="http://schemas.microsoft.com/office/2006/documentManagement/types"/>
    <ds:schemaRef ds:uri="http://schemas.openxmlformats.org/package/2006/metadata/core-properties"/>
    <ds:schemaRef ds:uri="http://purl.org/dc/dcmitype/"/>
    <ds:schemaRef ds:uri="http://purl.org/dc/elements/1.1/"/>
    <ds:schemaRef ds:uri="8abda921-aac1-49ce-9133-db7eff363c36"/>
    <ds:schemaRef ds:uri="395926fc-aba2-4e43-93d3-293d49ac187c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A_PPT-Master_EN_190731</Template>
  <TotalTime>0</TotalTime>
  <Words>925</Words>
  <Application>Microsoft Office PowerPoint</Application>
  <PresentationFormat>Custom</PresentationFormat>
  <Paragraphs>84</Paragraphs>
  <Slides>7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5" baseType="lpstr">
      <vt:lpstr>Arial</vt:lpstr>
      <vt:lpstr>Calibri</vt:lpstr>
      <vt:lpstr>Wingdings</vt:lpstr>
      <vt:lpstr>1_ohne-Hintergrund</vt:lpstr>
      <vt:lpstr>2_mit-Hintergrund</vt:lpstr>
      <vt:lpstr>3_mit-Grafik</vt:lpstr>
      <vt:lpstr>4_Vorgaben-und-Bibliothek</vt:lpstr>
      <vt:lpstr>think-cell Folie</vt:lpstr>
      <vt:lpstr>Country addition</vt:lpstr>
      <vt:lpstr>Agenda</vt:lpstr>
      <vt:lpstr>One model name for Europe (without Websitecheck)</vt:lpstr>
      <vt:lpstr>One model name for Europe (with Websitecheck)</vt:lpstr>
      <vt:lpstr>Multiple model names for Europe (without Websitecheck)</vt:lpstr>
      <vt:lpstr>Multiple model names for Europe (with Websitecheck)</vt:lpstr>
      <vt:lpstr>Thank you for your attention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eadline/Title of presentation</dc:title>
  <dc:creator>Tommissen, Wouter</dc:creator>
  <cp:lastModifiedBy>Tommissen, Wouter</cp:lastModifiedBy>
  <cp:revision>18</cp:revision>
  <cp:lastPrinted>2018-02-26T15:41:47Z</cp:lastPrinted>
  <dcterms:created xsi:type="dcterms:W3CDTF">2019-12-06T13:31:32Z</dcterms:created>
  <dcterms:modified xsi:type="dcterms:W3CDTF">2020-08-05T09:15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76F1B9750608142A5EF0F11B784A5E6</vt:lpwstr>
  </property>
  <property fmtid="{D5CDD505-2E9C-101B-9397-08002B2CF9AE}" pid="3" name="Document status">
    <vt:lpwstr>3;#C - valid|0c95109a-f409-44c4-ba27-12fbc6f76f24</vt:lpwstr>
  </property>
  <property fmtid="{D5CDD505-2E9C-101B-9397-08002B2CF9AE}" pid="4" name="Document type">
    <vt:lpwstr>1;#Documentation|4374477c-d144-4e1f-bf15-77ba8dc2d6ee</vt:lpwstr>
  </property>
  <property fmtid="{D5CDD505-2E9C-101B-9397-08002B2CF9AE}" pid="5" name="TA Solution">
    <vt:lpwstr>4;#No solution|227ba552-7fd7-40d5-abf3-76f160b7a704</vt:lpwstr>
  </property>
  <property fmtid="{D5CDD505-2E9C-101B-9397-08002B2CF9AE}" pid="6" name="Classification">
    <vt:lpwstr>2;#A - internal|b9f71f92-fb46-4487-9019-025349c14948</vt:lpwstr>
  </property>
</Properties>
</file>